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8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9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0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sldIdLst>
    <p:sldId id="11052" r:id="rId2"/>
    <p:sldId id="10964" r:id="rId3"/>
    <p:sldId id="1908" r:id="rId4"/>
    <p:sldId id="8544" r:id="rId5"/>
    <p:sldId id="8612" r:id="rId6"/>
    <p:sldId id="10976" r:id="rId7"/>
    <p:sldId id="257" r:id="rId8"/>
    <p:sldId id="11059" r:id="rId9"/>
    <p:sldId id="11060" r:id="rId10"/>
    <p:sldId id="11061" r:id="rId11"/>
    <p:sldId id="11057" r:id="rId12"/>
    <p:sldId id="11058" r:id="rId13"/>
    <p:sldId id="11062" r:id="rId14"/>
    <p:sldId id="11063" r:id="rId15"/>
    <p:sldId id="11053" r:id="rId16"/>
    <p:sldId id="11064" r:id="rId17"/>
    <p:sldId id="11065" r:id="rId18"/>
    <p:sldId id="11067" r:id="rId19"/>
    <p:sldId id="11066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85"/>
    <p:restoredTop sz="66401"/>
  </p:normalViewPr>
  <p:slideViewPr>
    <p:cSldViewPr snapToGrid="0" snapToObjects="1">
      <p:cViewPr varScale="1">
        <p:scale>
          <a:sx n="92" d="100"/>
          <a:sy n="92" d="100"/>
        </p:scale>
        <p:origin x="102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4" Type="http://schemas.openxmlformats.org/officeDocument/2006/relationships/image" Target="../media/image12.sv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4" Type="http://schemas.openxmlformats.org/officeDocument/2006/relationships/image" Target="../media/image16.svg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4" Type="http://schemas.openxmlformats.org/officeDocument/2006/relationships/image" Target="../media/image20.sv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4" Type="http://schemas.openxmlformats.org/officeDocument/2006/relationships/image" Target="../media/image24.svg"/></Relationships>
</file>

<file path=ppt/diagrams/_rels/data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svg"/><Relationship Id="rId1" Type="http://schemas.openxmlformats.org/officeDocument/2006/relationships/image" Target="../media/image25.png"/><Relationship Id="rId4" Type="http://schemas.openxmlformats.org/officeDocument/2006/relationships/image" Target="../media/image28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4" Type="http://schemas.openxmlformats.org/officeDocument/2006/relationships/image" Target="../media/image12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4" Type="http://schemas.openxmlformats.org/officeDocument/2006/relationships/image" Target="../media/image16.svg"/></Relationships>
</file>

<file path=ppt/diagrams/_rels/drawing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4" Type="http://schemas.openxmlformats.org/officeDocument/2006/relationships/image" Target="../media/image20.svg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4" Type="http://schemas.openxmlformats.org/officeDocument/2006/relationships/image" Target="../media/image24.svg"/></Relationships>
</file>

<file path=ppt/diagrams/_rels/drawing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svg"/><Relationship Id="rId1" Type="http://schemas.openxmlformats.org/officeDocument/2006/relationships/image" Target="../media/image25.png"/><Relationship Id="rId4" Type="http://schemas.openxmlformats.org/officeDocument/2006/relationships/image" Target="../media/image2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>
        <a:alpha val="0"/>
      </a:schemeClr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9A33DF-A9A1-F140-91D6-ACFB81FB3D4B}" type="doc">
      <dgm:prSet loTypeId="urn:microsoft.com/office/officeart/2005/8/layout/pyramid1" loCatId="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n-GB"/>
        </a:p>
      </dgm:t>
    </dgm:pt>
    <dgm:pt modelId="{3F3E6140-3DA8-EB46-9B1C-B1C718C7BEC5}">
      <dgm:prSet phldrT="[Text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en-GB" sz="2400" dirty="0">
              <a:solidFill>
                <a:schemeClr val="accent4">
                  <a:lumMod val="75000"/>
                </a:schemeClr>
              </a:solidFill>
            </a:rPr>
            <a:t>Reader</a:t>
          </a:r>
        </a:p>
      </dgm:t>
    </dgm:pt>
    <dgm:pt modelId="{1507C6CB-26D8-414C-8B9B-32E6E98A1D96}" type="parTrans" cxnId="{49F1E328-F4DA-B049-AD3F-7EE4ED9D67D9}">
      <dgm:prSet/>
      <dgm:spPr/>
      <dgm:t>
        <a:bodyPr/>
        <a:lstStyle/>
        <a:p>
          <a:endParaRPr lang="en-GB"/>
        </a:p>
      </dgm:t>
    </dgm:pt>
    <dgm:pt modelId="{276C20C2-E2F6-7440-92A2-35B00413A56F}" type="sibTrans" cxnId="{49F1E328-F4DA-B049-AD3F-7EE4ED9D67D9}">
      <dgm:prSet/>
      <dgm:spPr/>
      <dgm:t>
        <a:bodyPr/>
        <a:lstStyle/>
        <a:p>
          <a:endParaRPr lang="en-GB"/>
        </a:p>
      </dgm:t>
    </dgm:pt>
    <dgm:pt modelId="{281BECAC-AC0D-3447-983B-EAE43D7F5AA6}">
      <dgm:prSet phldrT="[Text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en-GB" sz="2800" dirty="0">
              <a:solidFill>
                <a:schemeClr val="accent1">
                  <a:lumMod val="75000"/>
                </a:schemeClr>
              </a:solidFill>
            </a:rPr>
            <a:t>Contributor</a:t>
          </a:r>
          <a:endParaRPr lang="en-GB" sz="2400" dirty="0">
            <a:solidFill>
              <a:schemeClr val="accent1">
                <a:lumMod val="75000"/>
              </a:schemeClr>
            </a:solidFill>
          </a:endParaRPr>
        </a:p>
      </dgm:t>
    </dgm:pt>
    <dgm:pt modelId="{4EB1135F-7456-A043-BB17-7F9AC3D3E199}" type="parTrans" cxnId="{1C5B6D30-23E6-2845-873A-2D6CBC328396}">
      <dgm:prSet/>
      <dgm:spPr/>
      <dgm:t>
        <a:bodyPr/>
        <a:lstStyle/>
        <a:p>
          <a:endParaRPr lang="en-GB"/>
        </a:p>
      </dgm:t>
    </dgm:pt>
    <dgm:pt modelId="{77190644-5297-6941-8876-FCFA48AE8FD1}" type="sibTrans" cxnId="{1C5B6D30-23E6-2845-873A-2D6CBC328396}">
      <dgm:prSet/>
      <dgm:spPr/>
      <dgm:t>
        <a:bodyPr/>
        <a:lstStyle/>
        <a:p>
          <a:endParaRPr lang="en-GB"/>
        </a:p>
      </dgm:t>
    </dgm:pt>
    <dgm:pt modelId="{86DE497A-1D97-4647-AB77-88946A426497}">
      <dgm:prSet phldrT="[Text]"/>
      <dgm:spPr/>
      <dgm:t>
        <a:bodyPr/>
        <a:lstStyle/>
        <a:p>
          <a:r>
            <a:rPr lang="en-GB" b="0" dirty="0">
              <a:solidFill>
                <a:schemeClr val="accent1">
                  <a:lumMod val="75000"/>
                </a:schemeClr>
              </a:solidFill>
            </a:rPr>
            <a:t>View, create, edit, or delete (where applicable) assets in a workspace. For example, contributors can create an experiment, create or attach a compute cluster, submit a run, and deploy a web service.</a:t>
          </a:r>
        </a:p>
      </dgm:t>
    </dgm:pt>
    <dgm:pt modelId="{FC5111E4-0103-3D4D-B2EB-86F441BBC34C}" type="parTrans" cxnId="{167C755E-5860-854B-9104-8A53293C070E}">
      <dgm:prSet/>
      <dgm:spPr/>
      <dgm:t>
        <a:bodyPr/>
        <a:lstStyle/>
        <a:p>
          <a:endParaRPr lang="en-GB"/>
        </a:p>
      </dgm:t>
    </dgm:pt>
    <dgm:pt modelId="{020CF643-D88E-E143-AAEC-461FEA153079}" type="sibTrans" cxnId="{167C755E-5860-854B-9104-8A53293C070E}">
      <dgm:prSet/>
      <dgm:spPr/>
      <dgm:t>
        <a:bodyPr/>
        <a:lstStyle/>
        <a:p>
          <a:endParaRPr lang="en-GB"/>
        </a:p>
      </dgm:t>
    </dgm:pt>
    <dgm:pt modelId="{2E7C9722-A290-8D4E-9DBD-9C3F3F9821D3}">
      <dgm:prSet phldrT="[Text]"/>
      <dgm:spPr/>
      <dgm:t>
        <a:bodyPr/>
        <a:lstStyle/>
        <a:p>
          <a:r>
            <a:rPr lang="en-GB" b="0" dirty="0">
              <a:solidFill>
                <a:schemeClr val="accent4">
                  <a:lumMod val="75000"/>
                </a:schemeClr>
              </a:solidFill>
            </a:rPr>
            <a:t>Read-only actions in the workspace. Readers can list and view assets in a workspace, but can't create or update these assets.</a:t>
          </a:r>
        </a:p>
      </dgm:t>
    </dgm:pt>
    <dgm:pt modelId="{45F93AF2-85D1-6E4D-80A4-2A181A411DEE}" type="parTrans" cxnId="{363E8741-D4DC-4C46-A278-E34E433F128B}">
      <dgm:prSet/>
      <dgm:spPr/>
      <dgm:t>
        <a:bodyPr/>
        <a:lstStyle/>
        <a:p>
          <a:endParaRPr lang="en-GB"/>
        </a:p>
      </dgm:t>
    </dgm:pt>
    <dgm:pt modelId="{363E7E4C-5CEC-8641-AA79-87AB4F1EBBCD}" type="sibTrans" cxnId="{363E8741-D4DC-4C46-A278-E34E433F128B}">
      <dgm:prSet/>
      <dgm:spPr/>
      <dgm:t>
        <a:bodyPr/>
        <a:lstStyle/>
        <a:p>
          <a:endParaRPr lang="en-GB"/>
        </a:p>
      </dgm:t>
    </dgm:pt>
    <dgm:pt modelId="{55356B6C-54BE-B14F-AD4C-6305256E1222}">
      <dgm:prSet phldrT="[Text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en-GB" sz="4000" dirty="0">
              <a:solidFill>
                <a:srgbClr val="00B050"/>
              </a:solidFill>
            </a:rPr>
            <a:t>Owner</a:t>
          </a:r>
          <a:endParaRPr lang="en-GB" sz="4000" b="0" dirty="0">
            <a:solidFill>
              <a:srgbClr val="00B050"/>
            </a:solidFill>
          </a:endParaRPr>
        </a:p>
      </dgm:t>
    </dgm:pt>
    <dgm:pt modelId="{1D93ABBC-D4AD-3741-BC86-BC45901A3B58}" type="parTrans" cxnId="{4C497AA6-04AB-3045-91A8-DB17554EB93B}">
      <dgm:prSet/>
      <dgm:spPr/>
      <dgm:t>
        <a:bodyPr/>
        <a:lstStyle/>
        <a:p>
          <a:endParaRPr lang="en-GB"/>
        </a:p>
      </dgm:t>
    </dgm:pt>
    <dgm:pt modelId="{C6638BAF-3680-514B-9861-92960B815433}" type="sibTrans" cxnId="{4C497AA6-04AB-3045-91A8-DB17554EB93B}">
      <dgm:prSet/>
      <dgm:spPr/>
      <dgm:t>
        <a:bodyPr/>
        <a:lstStyle/>
        <a:p>
          <a:endParaRPr lang="en-GB"/>
        </a:p>
      </dgm:t>
    </dgm:pt>
    <dgm:pt modelId="{4A839601-1F1C-CC47-B770-B959BF251538}">
      <dgm:prSet phldrT="[Text]"/>
      <dgm:spPr/>
      <dgm:t>
        <a:bodyPr/>
        <a:lstStyle/>
        <a:p>
          <a:r>
            <a:rPr lang="en-GB" b="0" dirty="0">
              <a:solidFill>
                <a:srgbClr val="00B050"/>
              </a:solidFill>
            </a:rPr>
            <a:t>Full access to the workspace, including the ability to view, create, edit, or delete (where applicable) assets in a workspace. Additionally, you can change role assignments.</a:t>
          </a:r>
        </a:p>
      </dgm:t>
    </dgm:pt>
    <dgm:pt modelId="{E36F1474-7C40-4140-B8C0-34961255964A}" type="parTrans" cxnId="{14BCDB1D-7D3E-824C-9BAE-6EAED5FE0A19}">
      <dgm:prSet/>
      <dgm:spPr/>
      <dgm:t>
        <a:bodyPr/>
        <a:lstStyle/>
        <a:p>
          <a:endParaRPr lang="en-GB"/>
        </a:p>
      </dgm:t>
    </dgm:pt>
    <dgm:pt modelId="{58BDE705-F566-C14F-B497-4BBF9ECFD696}" type="sibTrans" cxnId="{14BCDB1D-7D3E-824C-9BAE-6EAED5FE0A19}">
      <dgm:prSet/>
      <dgm:spPr/>
      <dgm:t>
        <a:bodyPr/>
        <a:lstStyle/>
        <a:p>
          <a:endParaRPr lang="en-GB"/>
        </a:p>
      </dgm:t>
    </dgm:pt>
    <dgm:pt modelId="{223989CD-EAB0-E144-907D-0FA7D4CD0AFC}" type="pres">
      <dgm:prSet presAssocID="{5B9A33DF-A9A1-F140-91D6-ACFB81FB3D4B}" presName="Name0" presStyleCnt="0">
        <dgm:presLayoutVars>
          <dgm:dir/>
          <dgm:animLvl val="lvl"/>
          <dgm:resizeHandles val="exact"/>
        </dgm:presLayoutVars>
      </dgm:prSet>
      <dgm:spPr/>
    </dgm:pt>
    <dgm:pt modelId="{A3EFF891-9DA5-534B-9309-022FB8FB8ED0}" type="pres">
      <dgm:prSet presAssocID="{3F3E6140-3DA8-EB46-9B1C-B1C718C7BEC5}" presName="Name8" presStyleCnt="0"/>
      <dgm:spPr/>
    </dgm:pt>
    <dgm:pt modelId="{C052DE80-0F06-4F47-9CE0-4242CE3208EC}" type="pres">
      <dgm:prSet presAssocID="{3F3E6140-3DA8-EB46-9B1C-B1C718C7BEC5}" presName="acctBkgd" presStyleLbl="alignAcc1" presStyleIdx="0" presStyleCnt="3"/>
      <dgm:spPr/>
    </dgm:pt>
    <dgm:pt modelId="{D04BAE04-EE4E-E248-9E9A-6118DC77D957}" type="pres">
      <dgm:prSet presAssocID="{3F3E6140-3DA8-EB46-9B1C-B1C718C7BEC5}" presName="acctTx" presStyleLbl="alignAcc1" presStyleIdx="0" presStyleCnt="3">
        <dgm:presLayoutVars>
          <dgm:bulletEnabled val="1"/>
        </dgm:presLayoutVars>
      </dgm:prSet>
      <dgm:spPr/>
    </dgm:pt>
    <dgm:pt modelId="{33E5688E-3408-CB4F-A830-E6F1BD542121}" type="pres">
      <dgm:prSet presAssocID="{3F3E6140-3DA8-EB46-9B1C-B1C718C7BEC5}" presName="level" presStyleLbl="node1" presStyleIdx="0" presStyleCnt="3">
        <dgm:presLayoutVars>
          <dgm:chMax val="1"/>
          <dgm:bulletEnabled val="1"/>
        </dgm:presLayoutVars>
      </dgm:prSet>
      <dgm:spPr/>
    </dgm:pt>
    <dgm:pt modelId="{B8E11E2F-2A79-D248-A3D1-770BF1F153AB}" type="pres">
      <dgm:prSet presAssocID="{3F3E6140-3DA8-EB46-9B1C-B1C718C7BEC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8564CD1-8D57-9C40-8196-939D02B891E0}" type="pres">
      <dgm:prSet presAssocID="{281BECAC-AC0D-3447-983B-EAE43D7F5AA6}" presName="Name8" presStyleCnt="0"/>
      <dgm:spPr/>
    </dgm:pt>
    <dgm:pt modelId="{7DFFE9D1-7F6B-D14F-82A9-13DBCCCACB04}" type="pres">
      <dgm:prSet presAssocID="{281BECAC-AC0D-3447-983B-EAE43D7F5AA6}" presName="acctBkgd" presStyleLbl="alignAcc1" presStyleIdx="1" presStyleCnt="3"/>
      <dgm:spPr/>
    </dgm:pt>
    <dgm:pt modelId="{0DD08E5B-4F03-1B4F-97EA-2F109D444A96}" type="pres">
      <dgm:prSet presAssocID="{281BECAC-AC0D-3447-983B-EAE43D7F5AA6}" presName="acctTx" presStyleLbl="alignAcc1" presStyleIdx="1" presStyleCnt="3">
        <dgm:presLayoutVars>
          <dgm:bulletEnabled val="1"/>
        </dgm:presLayoutVars>
      </dgm:prSet>
      <dgm:spPr/>
    </dgm:pt>
    <dgm:pt modelId="{8B8AC19C-5F2D-864C-B2BF-6AE7A39862F6}" type="pres">
      <dgm:prSet presAssocID="{281BECAC-AC0D-3447-983B-EAE43D7F5AA6}" presName="level" presStyleLbl="node1" presStyleIdx="1" presStyleCnt="3">
        <dgm:presLayoutVars>
          <dgm:chMax val="1"/>
          <dgm:bulletEnabled val="1"/>
        </dgm:presLayoutVars>
      </dgm:prSet>
      <dgm:spPr/>
    </dgm:pt>
    <dgm:pt modelId="{C43608DD-7EBC-504A-AD4B-B7804461214A}" type="pres">
      <dgm:prSet presAssocID="{281BECAC-AC0D-3447-983B-EAE43D7F5AA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E4081AF-837C-2C4C-BD4A-29CF8B4FA2ED}" type="pres">
      <dgm:prSet presAssocID="{55356B6C-54BE-B14F-AD4C-6305256E1222}" presName="Name8" presStyleCnt="0"/>
      <dgm:spPr/>
    </dgm:pt>
    <dgm:pt modelId="{996A2BC0-C64E-A546-ACCD-F96D37826042}" type="pres">
      <dgm:prSet presAssocID="{55356B6C-54BE-B14F-AD4C-6305256E1222}" presName="acctBkgd" presStyleLbl="alignAcc1" presStyleIdx="2" presStyleCnt="3"/>
      <dgm:spPr/>
    </dgm:pt>
    <dgm:pt modelId="{E659D191-4CBD-BD45-AE47-0E2973F28268}" type="pres">
      <dgm:prSet presAssocID="{55356B6C-54BE-B14F-AD4C-6305256E1222}" presName="acctTx" presStyleLbl="alignAcc1" presStyleIdx="2" presStyleCnt="3">
        <dgm:presLayoutVars>
          <dgm:bulletEnabled val="1"/>
        </dgm:presLayoutVars>
      </dgm:prSet>
      <dgm:spPr/>
    </dgm:pt>
    <dgm:pt modelId="{DCCF1056-9413-3E4A-B337-43CF3D940FCB}" type="pres">
      <dgm:prSet presAssocID="{55356B6C-54BE-B14F-AD4C-6305256E1222}" presName="level" presStyleLbl="node1" presStyleIdx="2" presStyleCnt="3">
        <dgm:presLayoutVars>
          <dgm:chMax val="1"/>
          <dgm:bulletEnabled val="1"/>
        </dgm:presLayoutVars>
      </dgm:prSet>
      <dgm:spPr/>
    </dgm:pt>
    <dgm:pt modelId="{6F1490FD-4ACC-154B-91F1-6214708C6849}" type="pres">
      <dgm:prSet presAssocID="{55356B6C-54BE-B14F-AD4C-6305256E1222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4BCDB1D-7D3E-824C-9BAE-6EAED5FE0A19}" srcId="{55356B6C-54BE-B14F-AD4C-6305256E1222}" destId="{4A839601-1F1C-CC47-B770-B959BF251538}" srcOrd="0" destOrd="0" parTransId="{E36F1474-7C40-4140-B8C0-34961255964A}" sibTransId="{58BDE705-F566-C14F-B497-4BBF9ECFD696}"/>
    <dgm:cxn modelId="{55473A1E-94FC-D241-9FCE-A7467332E057}" type="presOf" srcId="{55356B6C-54BE-B14F-AD4C-6305256E1222}" destId="{6F1490FD-4ACC-154B-91F1-6214708C6849}" srcOrd="1" destOrd="0" presId="urn:microsoft.com/office/officeart/2005/8/layout/pyramid1"/>
    <dgm:cxn modelId="{A76C1523-D3D5-EA40-975E-0CB29D4F27A2}" type="presOf" srcId="{281BECAC-AC0D-3447-983B-EAE43D7F5AA6}" destId="{8B8AC19C-5F2D-864C-B2BF-6AE7A39862F6}" srcOrd="0" destOrd="0" presId="urn:microsoft.com/office/officeart/2005/8/layout/pyramid1"/>
    <dgm:cxn modelId="{49F1E328-F4DA-B049-AD3F-7EE4ED9D67D9}" srcId="{5B9A33DF-A9A1-F140-91D6-ACFB81FB3D4B}" destId="{3F3E6140-3DA8-EB46-9B1C-B1C718C7BEC5}" srcOrd="0" destOrd="0" parTransId="{1507C6CB-26D8-414C-8B9B-32E6E98A1D96}" sibTransId="{276C20C2-E2F6-7440-92A2-35B00413A56F}"/>
    <dgm:cxn modelId="{1C5B6D30-23E6-2845-873A-2D6CBC328396}" srcId="{5B9A33DF-A9A1-F140-91D6-ACFB81FB3D4B}" destId="{281BECAC-AC0D-3447-983B-EAE43D7F5AA6}" srcOrd="1" destOrd="0" parTransId="{4EB1135F-7456-A043-BB17-7F9AC3D3E199}" sibTransId="{77190644-5297-6941-8876-FCFA48AE8FD1}"/>
    <dgm:cxn modelId="{92574C3E-C376-B04B-9A20-7C330140020C}" type="presOf" srcId="{86DE497A-1D97-4647-AB77-88946A426497}" destId="{0DD08E5B-4F03-1B4F-97EA-2F109D444A96}" srcOrd="1" destOrd="0" presId="urn:microsoft.com/office/officeart/2005/8/layout/pyramid1"/>
    <dgm:cxn modelId="{363E8741-D4DC-4C46-A278-E34E433F128B}" srcId="{3F3E6140-3DA8-EB46-9B1C-B1C718C7BEC5}" destId="{2E7C9722-A290-8D4E-9DBD-9C3F3F9821D3}" srcOrd="0" destOrd="0" parTransId="{45F93AF2-85D1-6E4D-80A4-2A181A411DEE}" sibTransId="{363E7E4C-5CEC-8641-AA79-87AB4F1EBBCD}"/>
    <dgm:cxn modelId="{167C755E-5860-854B-9104-8A53293C070E}" srcId="{281BECAC-AC0D-3447-983B-EAE43D7F5AA6}" destId="{86DE497A-1D97-4647-AB77-88946A426497}" srcOrd="0" destOrd="0" parTransId="{FC5111E4-0103-3D4D-B2EB-86F441BBC34C}" sibTransId="{020CF643-D88E-E143-AAEC-461FEA153079}"/>
    <dgm:cxn modelId="{1EAD775F-9F02-E04F-BA6C-8084F1D677B4}" type="presOf" srcId="{2E7C9722-A290-8D4E-9DBD-9C3F3F9821D3}" destId="{C052DE80-0F06-4F47-9CE0-4242CE3208EC}" srcOrd="0" destOrd="0" presId="urn:microsoft.com/office/officeart/2005/8/layout/pyramid1"/>
    <dgm:cxn modelId="{756E8A63-94C1-B34F-827E-087726617FE1}" type="presOf" srcId="{86DE497A-1D97-4647-AB77-88946A426497}" destId="{7DFFE9D1-7F6B-D14F-82A9-13DBCCCACB04}" srcOrd="0" destOrd="0" presId="urn:microsoft.com/office/officeart/2005/8/layout/pyramid1"/>
    <dgm:cxn modelId="{67CDC070-8B50-7B48-954E-19647B4F5F48}" type="presOf" srcId="{281BECAC-AC0D-3447-983B-EAE43D7F5AA6}" destId="{C43608DD-7EBC-504A-AD4B-B7804461214A}" srcOrd="1" destOrd="0" presId="urn:microsoft.com/office/officeart/2005/8/layout/pyramid1"/>
    <dgm:cxn modelId="{25704487-5E45-D148-A26F-9856B47445D3}" type="presOf" srcId="{4A839601-1F1C-CC47-B770-B959BF251538}" destId="{E659D191-4CBD-BD45-AE47-0E2973F28268}" srcOrd="1" destOrd="0" presId="urn:microsoft.com/office/officeart/2005/8/layout/pyramid1"/>
    <dgm:cxn modelId="{7E5DD18F-1BE8-1B49-BC3C-08386B948205}" type="presOf" srcId="{55356B6C-54BE-B14F-AD4C-6305256E1222}" destId="{DCCF1056-9413-3E4A-B337-43CF3D940FCB}" srcOrd="0" destOrd="0" presId="urn:microsoft.com/office/officeart/2005/8/layout/pyramid1"/>
    <dgm:cxn modelId="{39EDD69D-0F6D-204D-97A4-EDD828C70F79}" type="presOf" srcId="{4A839601-1F1C-CC47-B770-B959BF251538}" destId="{996A2BC0-C64E-A546-ACCD-F96D37826042}" srcOrd="0" destOrd="0" presId="urn:microsoft.com/office/officeart/2005/8/layout/pyramid1"/>
    <dgm:cxn modelId="{4C497AA6-04AB-3045-91A8-DB17554EB93B}" srcId="{5B9A33DF-A9A1-F140-91D6-ACFB81FB3D4B}" destId="{55356B6C-54BE-B14F-AD4C-6305256E1222}" srcOrd="2" destOrd="0" parTransId="{1D93ABBC-D4AD-3741-BC86-BC45901A3B58}" sibTransId="{C6638BAF-3680-514B-9861-92960B815433}"/>
    <dgm:cxn modelId="{260152D2-323F-494E-844D-FF5D5E395BF2}" type="presOf" srcId="{5B9A33DF-A9A1-F140-91D6-ACFB81FB3D4B}" destId="{223989CD-EAB0-E144-907D-0FA7D4CD0AFC}" srcOrd="0" destOrd="0" presId="urn:microsoft.com/office/officeart/2005/8/layout/pyramid1"/>
    <dgm:cxn modelId="{7F4A49D7-CD41-9D48-BF23-2D7B2DC22864}" type="presOf" srcId="{3F3E6140-3DA8-EB46-9B1C-B1C718C7BEC5}" destId="{B8E11E2F-2A79-D248-A3D1-770BF1F153AB}" srcOrd="1" destOrd="0" presId="urn:microsoft.com/office/officeart/2005/8/layout/pyramid1"/>
    <dgm:cxn modelId="{1722A0EE-E80F-B84C-98CA-27BB6CCAB715}" type="presOf" srcId="{3F3E6140-3DA8-EB46-9B1C-B1C718C7BEC5}" destId="{33E5688E-3408-CB4F-A830-E6F1BD542121}" srcOrd="0" destOrd="0" presId="urn:microsoft.com/office/officeart/2005/8/layout/pyramid1"/>
    <dgm:cxn modelId="{29A486FD-61F6-0141-97C8-4BF81E6A9CB2}" type="presOf" srcId="{2E7C9722-A290-8D4E-9DBD-9C3F3F9821D3}" destId="{D04BAE04-EE4E-E248-9E9A-6118DC77D957}" srcOrd="1" destOrd="0" presId="urn:microsoft.com/office/officeart/2005/8/layout/pyramid1"/>
    <dgm:cxn modelId="{AE1E10EB-CD22-DF47-B263-A3387933C15C}" type="presParOf" srcId="{223989CD-EAB0-E144-907D-0FA7D4CD0AFC}" destId="{A3EFF891-9DA5-534B-9309-022FB8FB8ED0}" srcOrd="0" destOrd="0" presId="urn:microsoft.com/office/officeart/2005/8/layout/pyramid1"/>
    <dgm:cxn modelId="{B8591E38-4A9C-1847-9AA1-AC56E8D070C2}" type="presParOf" srcId="{A3EFF891-9DA5-534B-9309-022FB8FB8ED0}" destId="{C052DE80-0F06-4F47-9CE0-4242CE3208EC}" srcOrd="0" destOrd="0" presId="urn:microsoft.com/office/officeart/2005/8/layout/pyramid1"/>
    <dgm:cxn modelId="{A4C23719-2992-E641-B7F9-DA92B7F6104C}" type="presParOf" srcId="{A3EFF891-9DA5-534B-9309-022FB8FB8ED0}" destId="{D04BAE04-EE4E-E248-9E9A-6118DC77D957}" srcOrd="1" destOrd="0" presId="urn:microsoft.com/office/officeart/2005/8/layout/pyramid1"/>
    <dgm:cxn modelId="{7EDCE3B5-37E2-924E-877B-03E840A0F872}" type="presParOf" srcId="{A3EFF891-9DA5-534B-9309-022FB8FB8ED0}" destId="{33E5688E-3408-CB4F-A830-E6F1BD542121}" srcOrd="2" destOrd="0" presId="urn:microsoft.com/office/officeart/2005/8/layout/pyramid1"/>
    <dgm:cxn modelId="{1A1DEC4B-8018-B840-BA6A-C9756BA3C2ED}" type="presParOf" srcId="{A3EFF891-9DA5-534B-9309-022FB8FB8ED0}" destId="{B8E11E2F-2A79-D248-A3D1-770BF1F153AB}" srcOrd="3" destOrd="0" presId="urn:microsoft.com/office/officeart/2005/8/layout/pyramid1"/>
    <dgm:cxn modelId="{D9DC2FCC-D35F-5D4D-826D-960215EEB95C}" type="presParOf" srcId="{223989CD-EAB0-E144-907D-0FA7D4CD0AFC}" destId="{48564CD1-8D57-9C40-8196-939D02B891E0}" srcOrd="1" destOrd="0" presId="urn:microsoft.com/office/officeart/2005/8/layout/pyramid1"/>
    <dgm:cxn modelId="{2AEC0014-4A36-604F-8C93-ED06033BD39E}" type="presParOf" srcId="{48564CD1-8D57-9C40-8196-939D02B891E0}" destId="{7DFFE9D1-7F6B-D14F-82A9-13DBCCCACB04}" srcOrd="0" destOrd="0" presId="urn:microsoft.com/office/officeart/2005/8/layout/pyramid1"/>
    <dgm:cxn modelId="{06DF2C33-D2B5-0844-96A7-1714DB213161}" type="presParOf" srcId="{48564CD1-8D57-9C40-8196-939D02B891E0}" destId="{0DD08E5B-4F03-1B4F-97EA-2F109D444A96}" srcOrd="1" destOrd="0" presId="urn:microsoft.com/office/officeart/2005/8/layout/pyramid1"/>
    <dgm:cxn modelId="{CB5C3BCF-AA33-D24E-ABC1-56CF5217470C}" type="presParOf" srcId="{48564CD1-8D57-9C40-8196-939D02B891E0}" destId="{8B8AC19C-5F2D-864C-B2BF-6AE7A39862F6}" srcOrd="2" destOrd="0" presId="urn:microsoft.com/office/officeart/2005/8/layout/pyramid1"/>
    <dgm:cxn modelId="{A45EFF3B-D176-0047-B56B-679331E372BC}" type="presParOf" srcId="{48564CD1-8D57-9C40-8196-939D02B891E0}" destId="{C43608DD-7EBC-504A-AD4B-B7804461214A}" srcOrd="3" destOrd="0" presId="urn:microsoft.com/office/officeart/2005/8/layout/pyramid1"/>
    <dgm:cxn modelId="{638F5615-7EE3-1040-97E0-841488086140}" type="presParOf" srcId="{223989CD-EAB0-E144-907D-0FA7D4CD0AFC}" destId="{4E4081AF-837C-2C4C-BD4A-29CF8B4FA2ED}" srcOrd="2" destOrd="0" presId="urn:microsoft.com/office/officeart/2005/8/layout/pyramid1"/>
    <dgm:cxn modelId="{C0648B9D-B977-214E-B272-A268A51CC419}" type="presParOf" srcId="{4E4081AF-837C-2C4C-BD4A-29CF8B4FA2ED}" destId="{996A2BC0-C64E-A546-ACCD-F96D37826042}" srcOrd="0" destOrd="0" presId="urn:microsoft.com/office/officeart/2005/8/layout/pyramid1"/>
    <dgm:cxn modelId="{FBFF0B29-1651-7A4D-B47F-7775AA19EB41}" type="presParOf" srcId="{4E4081AF-837C-2C4C-BD4A-29CF8B4FA2ED}" destId="{E659D191-4CBD-BD45-AE47-0E2973F28268}" srcOrd="1" destOrd="0" presId="urn:microsoft.com/office/officeart/2005/8/layout/pyramid1"/>
    <dgm:cxn modelId="{5FAA426E-60A2-924E-A05D-EAA5AA2CBE78}" type="presParOf" srcId="{4E4081AF-837C-2C4C-BD4A-29CF8B4FA2ED}" destId="{DCCF1056-9413-3E4A-B337-43CF3D940FCB}" srcOrd="2" destOrd="0" presId="urn:microsoft.com/office/officeart/2005/8/layout/pyramid1"/>
    <dgm:cxn modelId="{D7924EA4-47DA-864C-9404-294EF64B2447}" type="presParOf" srcId="{4E4081AF-837C-2C4C-BD4A-29CF8B4FA2ED}" destId="{6F1490FD-4ACC-154B-91F1-6214708C6849}" srcOrd="3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43D8561-AA3C-D245-A2CA-8D0EB81178AF}" type="doc">
      <dgm:prSet loTypeId="urn:microsoft.com/office/officeart/2005/8/layout/bProcess4" loCatId="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9DE2C76D-661D-454C-84F5-746B00AC8ED1}">
      <dgm:prSet phldrT="[Text]"/>
      <dgm:spPr/>
      <dgm:t>
        <a:bodyPr/>
        <a:lstStyle/>
        <a:p>
          <a:r>
            <a:rPr lang="en-GB"/>
            <a:t>Datastore</a:t>
          </a:r>
        </a:p>
      </dgm:t>
    </dgm:pt>
    <dgm:pt modelId="{067D57C3-F9C3-D141-BEC6-BC5B34927AF8}" type="parTrans" cxnId="{F7C51AF3-A9A7-A64E-AA65-BBA94E53BFF4}">
      <dgm:prSet/>
      <dgm:spPr/>
      <dgm:t>
        <a:bodyPr/>
        <a:lstStyle/>
        <a:p>
          <a:endParaRPr lang="en-GB"/>
        </a:p>
      </dgm:t>
    </dgm:pt>
    <dgm:pt modelId="{CC4ED3A6-DFF4-B84D-929C-43C66DDAEB42}" type="sibTrans" cxnId="{F7C51AF3-A9A7-A64E-AA65-BBA94E53BFF4}">
      <dgm:prSet/>
      <dgm:spPr/>
      <dgm:t>
        <a:bodyPr/>
        <a:lstStyle/>
        <a:p>
          <a:endParaRPr lang="en-GB"/>
        </a:p>
      </dgm:t>
    </dgm:pt>
    <dgm:pt modelId="{4D8CA969-85DE-D24E-B28B-0B3572C64B4E}">
      <dgm:prSet phldrT="[Text]"/>
      <dgm:spPr/>
      <dgm:t>
        <a:bodyPr/>
        <a:lstStyle/>
        <a:p>
          <a:r>
            <a:rPr lang="en-GB"/>
            <a:t>Dataset</a:t>
          </a:r>
        </a:p>
      </dgm:t>
    </dgm:pt>
    <dgm:pt modelId="{DBD23BE2-F1CA-6042-BC60-C998534DF684}" type="parTrans" cxnId="{09941049-861D-B642-8B29-2716D5A21CB1}">
      <dgm:prSet/>
      <dgm:spPr/>
      <dgm:t>
        <a:bodyPr/>
        <a:lstStyle/>
        <a:p>
          <a:endParaRPr lang="en-GB"/>
        </a:p>
      </dgm:t>
    </dgm:pt>
    <dgm:pt modelId="{0824D7E4-690D-CC4F-81E7-C941A3E5B051}" type="sibTrans" cxnId="{09941049-861D-B642-8B29-2716D5A21CB1}">
      <dgm:prSet/>
      <dgm:spPr/>
      <dgm:t>
        <a:bodyPr/>
        <a:lstStyle/>
        <a:p>
          <a:endParaRPr lang="en-GB"/>
        </a:p>
      </dgm:t>
    </dgm:pt>
    <dgm:pt modelId="{83E3BC0F-0D6C-2042-938E-E384C9CAC761}">
      <dgm:prSet phldrT="[Text]"/>
      <dgm:spPr/>
      <dgm:t>
        <a:bodyPr/>
        <a:lstStyle/>
        <a:p>
          <a:r>
            <a:rPr lang="en-GB"/>
            <a:t>Models</a:t>
          </a:r>
        </a:p>
      </dgm:t>
    </dgm:pt>
    <dgm:pt modelId="{C5B824EF-E511-E14D-811B-CCE1402C5B9F}" type="parTrans" cxnId="{1DB3878C-E2A3-7340-A6E1-4F3E1D55392B}">
      <dgm:prSet/>
      <dgm:spPr/>
      <dgm:t>
        <a:bodyPr/>
        <a:lstStyle/>
        <a:p>
          <a:endParaRPr lang="en-GB"/>
        </a:p>
      </dgm:t>
    </dgm:pt>
    <dgm:pt modelId="{12878B08-157B-E545-9999-EAD33551EA3E}" type="sibTrans" cxnId="{1DB3878C-E2A3-7340-A6E1-4F3E1D55392B}">
      <dgm:prSet/>
      <dgm:spPr/>
      <dgm:t>
        <a:bodyPr/>
        <a:lstStyle/>
        <a:p>
          <a:endParaRPr lang="en-GB"/>
        </a:p>
      </dgm:t>
    </dgm:pt>
    <dgm:pt modelId="{9F66F4B0-5314-CD4B-AAC5-6C32F6919819}">
      <dgm:prSet phldrT="[Text]"/>
      <dgm:spPr/>
      <dgm:t>
        <a:bodyPr/>
        <a:lstStyle/>
        <a:p>
          <a:r>
            <a:rPr lang="en-GB"/>
            <a:t>Environments</a:t>
          </a:r>
        </a:p>
      </dgm:t>
    </dgm:pt>
    <dgm:pt modelId="{5E9D793B-5322-C340-B7B9-7C2AAF1EE5ED}" type="parTrans" cxnId="{379B2842-22D4-EB40-8AEB-CB9E8E1C17A6}">
      <dgm:prSet/>
      <dgm:spPr/>
      <dgm:t>
        <a:bodyPr/>
        <a:lstStyle/>
        <a:p>
          <a:endParaRPr lang="en-GB"/>
        </a:p>
      </dgm:t>
    </dgm:pt>
    <dgm:pt modelId="{1E3A04CB-BC42-764C-8A9F-D0AA44F78A81}" type="sibTrans" cxnId="{379B2842-22D4-EB40-8AEB-CB9E8E1C17A6}">
      <dgm:prSet/>
      <dgm:spPr/>
      <dgm:t>
        <a:bodyPr/>
        <a:lstStyle/>
        <a:p>
          <a:endParaRPr lang="en-GB"/>
        </a:p>
      </dgm:t>
    </dgm:pt>
    <dgm:pt modelId="{009B329A-1304-0746-AD9B-4E7ABF633427}">
      <dgm:prSet phldrT="[Text]"/>
      <dgm:spPr/>
      <dgm:t>
        <a:bodyPr/>
        <a:lstStyle/>
        <a:p>
          <a:r>
            <a:rPr lang="en-GB"/>
            <a:t>Deployments</a:t>
          </a:r>
        </a:p>
      </dgm:t>
    </dgm:pt>
    <dgm:pt modelId="{27FC3BCF-5C16-4E41-A99F-94C4CA82F8AE}" type="parTrans" cxnId="{B60147DB-E3E4-0D4C-B53F-223A1519F276}">
      <dgm:prSet/>
      <dgm:spPr/>
      <dgm:t>
        <a:bodyPr/>
        <a:lstStyle/>
        <a:p>
          <a:endParaRPr lang="en-GB"/>
        </a:p>
      </dgm:t>
    </dgm:pt>
    <dgm:pt modelId="{3DB18D5B-1C4C-514C-9933-4D958BA7F2AD}" type="sibTrans" cxnId="{B60147DB-E3E4-0D4C-B53F-223A1519F276}">
      <dgm:prSet/>
      <dgm:spPr/>
      <dgm:t>
        <a:bodyPr/>
        <a:lstStyle/>
        <a:p>
          <a:endParaRPr lang="en-GB"/>
        </a:p>
      </dgm:t>
    </dgm:pt>
    <dgm:pt modelId="{032190DE-C15B-2A48-A58E-87D638CFEB1C}">
      <dgm:prSet phldrT="[Text]"/>
      <dgm:spPr/>
      <dgm:t>
        <a:bodyPr/>
        <a:lstStyle/>
        <a:p>
          <a:r>
            <a:rPr lang="en-GB"/>
            <a:t>Experimentation</a:t>
          </a:r>
        </a:p>
      </dgm:t>
    </dgm:pt>
    <dgm:pt modelId="{D480FAF7-E965-E149-9DCC-57AF6B02D560}" type="parTrans" cxnId="{978A312F-5364-E945-9AA8-31E05220222F}">
      <dgm:prSet/>
      <dgm:spPr/>
      <dgm:t>
        <a:bodyPr/>
        <a:lstStyle/>
        <a:p>
          <a:endParaRPr lang="en-GB"/>
        </a:p>
      </dgm:t>
    </dgm:pt>
    <dgm:pt modelId="{4D2AC947-2195-AE46-B12E-8FB3588CB83C}" type="sibTrans" cxnId="{978A312F-5364-E945-9AA8-31E05220222F}">
      <dgm:prSet/>
      <dgm:spPr/>
      <dgm:t>
        <a:bodyPr/>
        <a:lstStyle/>
        <a:p>
          <a:endParaRPr lang="en-GB"/>
        </a:p>
      </dgm:t>
    </dgm:pt>
    <dgm:pt modelId="{30413973-DA0F-BF44-B2B4-A9CD4CEC30EF}">
      <dgm:prSet phldrT="[Text]"/>
      <dgm:spPr/>
      <dgm:t>
        <a:bodyPr/>
        <a:lstStyle/>
        <a:p>
          <a:r>
            <a:rPr lang="en-GB"/>
            <a:t>Pipelines</a:t>
          </a:r>
        </a:p>
      </dgm:t>
    </dgm:pt>
    <dgm:pt modelId="{7DC9DB29-7ED1-AF49-B8C6-97E20B1F7E74}" type="parTrans" cxnId="{5AE2D6A8-8C88-7F48-B9A8-953AE3AC6DA4}">
      <dgm:prSet/>
      <dgm:spPr/>
      <dgm:t>
        <a:bodyPr/>
        <a:lstStyle/>
        <a:p>
          <a:endParaRPr lang="en-GB"/>
        </a:p>
      </dgm:t>
    </dgm:pt>
    <dgm:pt modelId="{97C6123A-D3EA-E541-BB75-6C303DD140FF}" type="sibTrans" cxnId="{5AE2D6A8-8C88-7F48-B9A8-953AE3AC6DA4}">
      <dgm:prSet/>
      <dgm:spPr/>
      <dgm:t>
        <a:bodyPr/>
        <a:lstStyle/>
        <a:p>
          <a:endParaRPr lang="en-GB"/>
        </a:p>
      </dgm:t>
    </dgm:pt>
    <dgm:pt modelId="{78BA1AEF-DBCA-6743-8775-8A0BCE369732}">
      <dgm:prSet phldrT="[Text]"/>
      <dgm:spPr/>
      <dgm:t>
        <a:bodyPr/>
        <a:lstStyle/>
        <a:p>
          <a:r>
            <a:rPr lang="en-GB"/>
            <a:t>Compute</a:t>
          </a:r>
        </a:p>
      </dgm:t>
    </dgm:pt>
    <dgm:pt modelId="{572B9286-7E49-7147-9E67-843D35F21858}" type="parTrans" cxnId="{C59D14C8-5FED-6D4F-9575-41F4237525E4}">
      <dgm:prSet/>
      <dgm:spPr/>
      <dgm:t>
        <a:bodyPr/>
        <a:lstStyle/>
        <a:p>
          <a:endParaRPr lang="en-GB"/>
        </a:p>
      </dgm:t>
    </dgm:pt>
    <dgm:pt modelId="{CAFCD01A-B203-954E-AC6B-CA50A1189BC7}" type="sibTrans" cxnId="{C59D14C8-5FED-6D4F-9575-41F4237525E4}">
      <dgm:prSet/>
      <dgm:spPr/>
      <dgm:t>
        <a:bodyPr/>
        <a:lstStyle/>
        <a:p>
          <a:endParaRPr lang="en-GB"/>
        </a:p>
      </dgm:t>
    </dgm:pt>
    <dgm:pt modelId="{5512C007-6843-CA44-A41B-F25A37D889E5}">
      <dgm:prSet phldrT="[Text]"/>
      <dgm:spPr/>
      <dgm:t>
        <a:bodyPr/>
        <a:lstStyle/>
        <a:p>
          <a:r>
            <a:rPr lang="en-GB"/>
            <a:t>Workspace</a:t>
          </a:r>
        </a:p>
      </dgm:t>
    </dgm:pt>
    <dgm:pt modelId="{F8A353E5-27F4-0848-A2CC-02252F8FB8B1}" type="parTrans" cxnId="{710BAB60-5D95-A74A-ADE5-6FAC037D167B}">
      <dgm:prSet/>
      <dgm:spPr/>
      <dgm:t>
        <a:bodyPr/>
        <a:lstStyle/>
        <a:p>
          <a:endParaRPr lang="en-GB"/>
        </a:p>
      </dgm:t>
    </dgm:pt>
    <dgm:pt modelId="{31757DE6-B9FE-AA44-8FE3-0084D5F6A500}" type="sibTrans" cxnId="{710BAB60-5D95-A74A-ADE5-6FAC037D167B}">
      <dgm:prSet/>
      <dgm:spPr/>
      <dgm:t>
        <a:bodyPr/>
        <a:lstStyle/>
        <a:p>
          <a:endParaRPr lang="en-GB"/>
        </a:p>
      </dgm:t>
    </dgm:pt>
    <dgm:pt modelId="{58FF8BF7-08A4-D146-B0FD-18B051226B85}">
      <dgm:prSet phldrT="[Text]"/>
      <dgm:spPr/>
      <dgm:t>
        <a:bodyPr/>
        <a:lstStyle/>
        <a:p>
          <a:r>
            <a:rPr lang="en-GB"/>
            <a:t>ComputeInstance</a:t>
          </a:r>
        </a:p>
      </dgm:t>
    </dgm:pt>
    <dgm:pt modelId="{E4F1BA72-F529-E14E-9514-3BA638BF1E40}" type="parTrans" cxnId="{F9C3A022-CA85-5748-B142-316644B69E60}">
      <dgm:prSet/>
      <dgm:spPr/>
      <dgm:t>
        <a:bodyPr/>
        <a:lstStyle/>
        <a:p>
          <a:endParaRPr lang="en-GB"/>
        </a:p>
      </dgm:t>
    </dgm:pt>
    <dgm:pt modelId="{57BFDADD-A29F-3649-B18A-F6D562872853}" type="sibTrans" cxnId="{F9C3A022-CA85-5748-B142-316644B69E60}">
      <dgm:prSet/>
      <dgm:spPr/>
      <dgm:t>
        <a:bodyPr/>
        <a:lstStyle/>
        <a:p>
          <a:endParaRPr lang="en-GB"/>
        </a:p>
      </dgm:t>
    </dgm:pt>
    <dgm:pt modelId="{DC101B06-E9C8-DD49-8ED0-95180321EB08}">
      <dgm:prSet phldrT="[Text]"/>
      <dgm:spPr/>
      <dgm:t>
        <a:bodyPr/>
        <a:lstStyle/>
        <a:p>
          <a:r>
            <a:rPr lang="en-GB"/>
            <a:t>DataDrift</a:t>
          </a:r>
        </a:p>
      </dgm:t>
    </dgm:pt>
    <dgm:pt modelId="{AC14794F-394F-BC47-8166-8F8519BB50F9}" type="parTrans" cxnId="{3328E5C7-646B-3A4F-920B-F7B465CC1568}">
      <dgm:prSet/>
      <dgm:spPr/>
      <dgm:t>
        <a:bodyPr/>
        <a:lstStyle/>
        <a:p>
          <a:endParaRPr lang="en-GB"/>
        </a:p>
      </dgm:t>
    </dgm:pt>
    <dgm:pt modelId="{5F34B069-9EF6-9C42-ABAB-68E69CAD1A4A}" type="sibTrans" cxnId="{3328E5C7-646B-3A4F-920B-F7B465CC1568}">
      <dgm:prSet/>
      <dgm:spPr/>
      <dgm:t>
        <a:bodyPr/>
        <a:lstStyle/>
        <a:p>
          <a:endParaRPr lang="en-GB"/>
        </a:p>
      </dgm:t>
    </dgm:pt>
    <dgm:pt modelId="{9F7B3CF8-100A-CC47-9566-12C9829C39F2}">
      <dgm:prSet phldrT="[Text]"/>
      <dgm:spPr/>
      <dgm:t>
        <a:bodyPr/>
        <a:lstStyle/>
        <a:p>
          <a:r>
            <a:rPr lang="en-GB"/>
            <a:t>DataLabelling</a:t>
          </a:r>
        </a:p>
      </dgm:t>
    </dgm:pt>
    <dgm:pt modelId="{285F26CC-363C-344A-B9D1-84112372209D}" type="parTrans" cxnId="{FC34CC47-8276-6B4C-B721-FA0219E979BD}">
      <dgm:prSet/>
      <dgm:spPr/>
      <dgm:t>
        <a:bodyPr/>
        <a:lstStyle/>
        <a:p>
          <a:endParaRPr lang="en-GB"/>
        </a:p>
      </dgm:t>
    </dgm:pt>
    <dgm:pt modelId="{D2A335EA-D04F-A346-8F00-E486CFC4AFDB}" type="sibTrans" cxnId="{FC34CC47-8276-6B4C-B721-FA0219E979BD}">
      <dgm:prSet/>
      <dgm:spPr/>
      <dgm:t>
        <a:bodyPr/>
        <a:lstStyle/>
        <a:p>
          <a:endParaRPr lang="en-GB"/>
        </a:p>
      </dgm:t>
    </dgm:pt>
    <dgm:pt modelId="{808A95D0-3365-BE46-BFE0-7E7B45E7B3DD}" type="pres">
      <dgm:prSet presAssocID="{C43D8561-AA3C-D245-A2CA-8D0EB81178AF}" presName="Name0" presStyleCnt="0">
        <dgm:presLayoutVars>
          <dgm:dir/>
          <dgm:resizeHandles/>
        </dgm:presLayoutVars>
      </dgm:prSet>
      <dgm:spPr/>
    </dgm:pt>
    <dgm:pt modelId="{FEFF8FD2-5D1E-2548-8ABA-1246B9591F62}" type="pres">
      <dgm:prSet presAssocID="{9DE2C76D-661D-454C-84F5-746B00AC8ED1}" presName="compNode" presStyleCnt="0"/>
      <dgm:spPr/>
    </dgm:pt>
    <dgm:pt modelId="{69C408B2-E743-1941-9C21-38EE7AE19C8A}" type="pres">
      <dgm:prSet presAssocID="{9DE2C76D-661D-454C-84F5-746B00AC8ED1}" presName="dummyConnPt" presStyleCnt="0"/>
      <dgm:spPr/>
    </dgm:pt>
    <dgm:pt modelId="{12854B74-FC94-DF47-B803-444646F9759A}" type="pres">
      <dgm:prSet presAssocID="{9DE2C76D-661D-454C-84F5-746B00AC8ED1}" presName="node" presStyleLbl="node1" presStyleIdx="0" presStyleCnt="12">
        <dgm:presLayoutVars>
          <dgm:bulletEnabled val="1"/>
        </dgm:presLayoutVars>
      </dgm:prSet>
      <dgm:spPr/>
    </dgm:pt>
    <dgm:pt modelId="{D58C2A91-FD65-9A4F-A16A-0978A5F40519}" type="pres">
      <dgm:prSet presAssocID="{CC4ED3A6-DFF4-B84D-929C-43C66DDAEB42}" presName="sibTrans" presStyleLbl="bgSibTrans2D1" presStyleIdx="0" presStyleCnt="11"/>
      <dgm:spPr/>
    </dgm:pt>
    <dgm:pt modelId="{52FABC84-72AF-0B4E-ABE4-C6A9961896B8}" type="pres">
      <dgm:prSet presAssocID="{4D8CA969-85DE-D24E-B28B-0B3572C64B4E}" presName="compNode" presStyleCnt="0"/>
      <dgm:spPr/>
    </dgm:pt>
    <dgm:pt modelId="{9A1550AA-D9FE-8C4A-BF95-FECF28BDB685}" type="pres">
      <dgm:prSet presAssocID="{4D8CA969-85DE-D24E-B28B-0B3572C64B4E}" presName="dummyConnPt" presStyleCnt="0"/>
      <dgm:spPr/>
    </dgm:pt>
    <dgm:pt modelId="{7B5902CC-4F9B-E441-8890-AAEFE1C1DF65}" type="pres">
      <dgm:prSet presAssocID="{4D8CA969-85DE-D24E-B28B-0B3572C64B4E}" presName="node" presStyleLbl="node1" presStyleIdx="1" presStyleCnt="12">
        <dgm:presLayoutVars>
          <dgm:bulletEnabled val="1"/>
        </dgm:presLayoutVars>
      </dgm:prSet>
      <dgm:spPr/>
    </dgm:pt>
    <dgm:pt modelId="{53AC0603-BEC4-2A41-AD04-5AA3CF4DB84B}" type="pres">
      <dgm:prSet presAssocID="{0824D7E4-690D-CC4F-81E7-C941A3E5B051}" presName="sibTrans" presStyleLbl="bgSibTrans2D1" presStyleIdx="1" presStyleCnt="11"/>
      <dgm:spPr/>
    </dgm:pt>
    <dgm:pt modelId="{8CBCC9B1-1885-4243-9EEE-6EDEF96123DD}" type="pres">
      <dgm:prSet presAssocID="{83E3BC0F-0D6C-2042-938E-E384C9CAC761}" presName="compNode" presStyleCnt="0"/>
      <dgm:spPr/>
    </dgm:pt>
    <dgm:pt modelId="{354F910D-6E03-ED4C-A74C-0B66AB326297}" type="pres">
      <dgm:prSet presAssocID="{83E3BC0F-0D6C-2042-938E-E384C9CAC761}" presName="dummyConnPt" presStyleCnt="0"/>
      <dgm:spPr/>
    </dgm:pt>
    <dgm:pt modelId="{AE294A33-5230-224E-B982-09DA160CE86D}" type="pres">
      <dgm:prSet presAssocID="{83E3BC0F-0D6C-2042-938E-E384C9CAC761}" presName="node" presStyleLbl="node1" presStyleIdx="2" presStyleCnt="12">
        <dgm:presLayoutVars>
          <dgm:bulletEnabled val="1"/>
        </dgm:presLayoutVars>
      </dgm:prSet>
      <dgm:spPr/>
    </dgm:pt>
    <dgm:pt modelId="{91E41B5B-74C3-9542-A691-1E95ACCE1ED3}" type="pres">
      <dgm:prSet presAssocID="{12878B08-157B-E545-9999-EAD33551EA3E}" presName="sibTrans" presStyleLbl="bgSibTrans2D1" presStyleIdx="2" presStyleCnt="11"/>
      <dgm:spPr/>
    </dgm:pt>
    <dgm:pt modelId="{608BBE0F-831D-074F-908B-F295681EA1F5}" type="pres">
      <dgm:prSet presAssocID="{9F66F4B0-5314-CD4B-AAC5-6C32F6919819}" presName="compNode" presStyleCnt="0"/>
      <dgm:spPr/>
    </dgm:pt>
    <dgm:pt modelId="{2EA2D87A-ADC6-D14F-8CEB-B5AA13AE7B94}" type="pres">
      <dgm:prSet presAssocID="{9F66F4B0-5314-CD4B-AAC5-6C32F6919819}" presName="dummyConnPt" presStyleCnt="0"/>
      <dgm:spPr/>
    </dgm:pt>
    <dgm:pt modelId="{7DD47CFB-CA3E-D040-B6C6-1635865A3AE7}" type="pres">
      <dgm:prSet presAssocID="{9F66F4B0-5314-CD4B-AAC5-6C32F6919819}" presName="node" presStyleLbl="node1" presStyleIdx="3" presStyleCnt="12">
        <dgm:presLayoutVars>
          <dgm:bulletEnabled val="1"/>
        </dgm:presLayoutVars>
      </dgm:prSet>
      <dgm:spPr/>
    </dgm:pt>
    <dgm:pt modelId="{1494652F-F895-0349-8AEA-89B6A1A8E120}" type="pres">
      <dgm:prSet presAssocID="{1E3A04CB-BC42-764C-8A9F-D0AA44F78A81}" presName="sibTrans" presStyleLbl="bgSibTrans2D1" presStyleIdx="3" presStyleCnt="11"/>
      <dgm:spPr/>
    </dgm:pt>
    <dgm:pt modelId="{A0FE41AB-5CD2-A548-8C7A-5B3CB5CC33CE}" type="pres">
      <dgm:prSet presAssocID="{009B329A-1304-0746-AD9B-4E7ABF633427}" presName="compNode" presStyleCnt="0"/>
      <dgm:spPr/>
    </dgm:pt>
    <dgm:pt modelId="{21CFAD69-124E-B147-A327-9B6E0816A5C5}" type="pres">
      <dgm:prSet presAssocID="{009B329A-1304-0746-AD9B-4E7ABF633427}" presName="dummyConnPt" presStyleCnt="0"/>
      <dgm:spPr/>
    </dgm:pt>
    <dgm:pt modelId="{41EE7AAE-24F3-4141-A458-2C50DDEF6211}" type="pres">
      <dgm:prSet presAssocID="{009B329A-1304-0746-AD9B-4E7ABF633427}" presName="node" presStyleLbl="node1" presStyleIdx="4" presStyleCnt="12">
        <dgm:presLayoutVars>
          <dgm:bulletEnabled val="1"/>
        </dgm:presLayoutVars>
      </dgm:prSet>
      <dgm:spPr/>
    </dgm:pt>
    <dgm:pt modelId="{53839300-6DF0-5D45-AC1B-4033F2256B2E}" type="pres">
      <dgm:prSet presAssocID="{3DB18D5B-1C4C-514C-9933-4D958BA7F2AD}" presName="sibTrans" presStyleLbl="bgSibTrans2D1" presStyleIdx="4" presStyleCnt="11"/>
      <dgm:spPr/>
    </dgm:pt>
    <dgm:pt modelId="{B9EA95EE-87BC-FE4B-B2B7-506C130628BD}" type="pres">
      <dgm:prSet presAssocID="{032190DE-C15B-2A48-A58E-87D638CFEB1C}" presName="compNode" presStyleCnt="0"/>
      <dgm:spPr/>
    </dgm:pt>
    <dgm:pt modelId="{A9957AE1-1FE3-C249-A3F6-1C26A14C0038}" type="pres">
      <dgm:prSet presAssocID="{032190DE-C15B-2A48-A58E-87D638CFEB1C}" presName="dummyConnPt" presStyleCnt="0"/>
      <dgm:spPr/>
    </dgm:pt>
    <dgm:pt modelId="{E910F89B-D02D-7D43-A8C4-36F30B6D2290}" type="pres">
      <dgm:prSet presAssocID="{032190DE-C15B-2A48-A58E-87D638CFEB1C}" presName="node" presStyleLbl="node1" presStyleIdx="5" presStyleCnt="12">
        <dgm:presLayoutVars>
          <dgm:bulletEnabled val="1"/>
        </dgm:presLayoutVars>
      </dgm:prSet>
      <dgm:spPr/>
    </dgm:pt>
    <dgm:pt modelId="{B395F359-16B3-C044-A6CC-31B4B13BEA89}" type="pres">
      <dgm:prSet presAssocID="{4D2AC947-2195-AE46-B12E-8FB3588CB83C}" presName="sibTrans" presStyleLbl="bgSibTrans2D1" presStyleIdx="5" presStyleCnt="11"/>
      <dgm:spPr/>
    </dgm:pt>
    <dgm:pt modelId="{1BA18B2E-D82B-B747-982E-CE4512651E7F}" type="pres">
      <dgm:prSet presAssocID="{30413973-DA0F-BF44-B2B4-A9CD4CEC30EF}" presName="compNode" presStyleCnt="0"/>
      <dgm:spPr/>
    </dgm:pt>
    <dgm:pt modelId="{0FE28540-02A6-CD46-A6F9-09E37BA04266}" type="pres">
      <dgm:prSet presAssocID="{30413973-DA0F-BF44-B2B4-A9CD4CEC30EF}" presName="dummyConnPt" presStyleCnt="0"/>
      <dgm:spPr/>
    </dgm:pt>
    <dgm:pt modelId="{06420F53-60A6-4B46-BBBF-EA350BF7F5B5}" type="pres">
      <dgm:prSet presAssocID="{30413973-DA0F-BF44-B2B4-A9CD4CEC30EF}" presName="node" presStyleLbl="node1" presStyleIdx="6" presStyleCnt="12">
        <dgm:presLayoutVars>
          <dgm:bulletEnabled val="1"/>
        </dgm:presLayoutVars>
      </dgm:prSet>
      <dgm:spPr/>
    </dgm:pt>
    <dgm:pt modelId="{86A52B42-6076-E445-B931-78F08FF01176}" type="pres">
      <dgm:prSet presAssocID="{97C6123A-D3EA-E541-BB75-6C303DD140FF}" presName="sibTrans" presStyleLbl="bgSibTrans2D1" presStyleIdx="6" presStyleCnt="11"/>
      <dgm:spPr/>
    </dgm:pt>
    <dgm:pt modelId="{BF7B6C50-802C-CC49-94A9-2397C51AAFDC}" type="pres">
      <dgm:prSet presAssocID="{78BA1AEF-DBCA-6743-8775-8A0BCE369732}" presName="compNode" presStyleCnt="0"/>
      <dgm:spPr/>
    </dgm:pt>
    <dgm:pt modelId="{CF303D39-D33F-724F-9BF8-78DBD0388A63}" type="pres">
      <dgm:prSet presAssocID="{78BA1AEF-DBCA-6743-8775-8A0BCE369732}" presName="dummyConnPt" presStyleCnt="0"/>
      <dgm:spPr/>
    </dgm:pt>
    <dgm:pt modelId="{46E295A1-4340-F84D-BAB0-2BBC881A99A7}" type="pres">
      <dgm:prSet presAssocID="{78BA1AEF-DBCA-6743-8775-8A0BCE369732}" presName="node" presStyleLbl="node1" presStyleIdx="7" presStyleCnt="12">
        <dgm:presLayoutVars>
          <dgm:bulletEnabled val="1"/>
        </dgm:presLayoutVars>
      </dgm:prSet>
      <dgm:spPr/>
    </dgm:pt>
    <dgm:pt modelId="{A89B9B16-D6F4-EA4C-AB25-11FCA61B4CB6}" type="pres">
      <dgm:prSet presAssocID="{CAFCD01A-B203-954E-AC6B-CA50A1189BC7}" presName="sibTrans" presStyleLbl="bgSibTrans2D1" presStyleIdx="7" presStyleCnt="11"/>
      <dgm:spPr/>
    </dgm:pt>
    <dgm:pt modelId="{F1E6F783-7D18-F042-9784-FB181F487D63}" type="pres">
      <dgm:prSet presAssocID="{5512C007-6843-CA44-A41B-F25A37D889E5}" presName="compNode" presStyleCnt="0"/>
      <dgm:spPr/>
    </dgm:pt>
    <dgm:pt modelId="{2882C65E-AFF0-8E44-9943-1D98423AB28A}" type="pres">
      <dgm:prSet presAssocID="{5512C007-6843-CA44-A41B-F25A37D889E5}" presName="dummyConnPt" presStyleCnt="0"/>
      <dgm:spPr/>
    </dgm:pt>
    <dgm:pt modelId="{EF1E5C18-69AF-4B47-B3D3-23CEA5C2500B}" type="pres">
      <dgm:prSet presAssocID="{5512C007-6843-CA44-A41B-F25A37D889E5}" presName="node" presStyleLbl="node1" presStyleIdx="8" presStyleCnt="12">
        <dgm:presLayoutVars>
          <dgm:bulletEnabled val="1"/>
        </dgm:presLayoutVars>
      </dgm:prSet>
      <dgm:spPr/>
    </dgm:pt>
    <dgm:pt modelId="{0F90293C-7509-1E44-B894-38413DFAD520}" type="pres">
      <dgm:prSet presAssocID="{31757DE6-B9FE-AA44-8FE3-0084D5F6A500}" presName="sibTrans" presStyleLbl="bgSibTrans2D1" presStyleIdx="8" presStyleCnt="11"/>
      <dgm:spPr/>
    </dgm:pt>
    <dgm:pt modelId="{8A07FD64-7037-AD41-8711-C22DF638BCFA}" type="pres">
      <dgm:prSet presAssocID="{58FF8BF7-08A4-D146-B0FD-18B051226B85}" presName="compNode" presStyleCnt="0"/>
      <dgm:spPr/>
    </dgm:pt>
    <dgm:pt modelId="{588E4A00-50D3-8B46-9A1B-61A03DFF1705}" type="pres">
      <dgm:prSet presAssocID="{58FF8BF7-08A4-D146-B0FD-18B051226B85}" presName="dummyConnPt" presStyleCnt="0"/>
      <dgm:spPr/>
    </dgm:pt>
    <dgm:pt modelId="{A6F72A1D-68FF-584D-A4EF-507A0879FDEC}" type="pres">
      <dgm:prSet presAssocID="{58FF8BF7-08A4-D146-B0FD-18B051226B85}" presName="node" presStyleLbl="node1" presStyleIdx="9" presStyleCnt="12">
        <dgm:presLayoutVars>
          <dgm:bulletEnabled val="1"/>
        </dgm:presLayoutVars>
      </dgm:prSet>
      <dgm:spPr/>
    </dgm:pt>
    <dgm:pt modelId="{32FB0798-6262-6348-AC06-FFAF64B60231}" type="pres">
      <dgm:prSet presAssocID="{57BFDADD-A29F-3649-B18A-F6D562872853}" presName="sibTrans" presStyleLbl="bgSibTrans2D1" presStyleIdx="9" presStyleCnt="11"/>
      <dgm:spPr/>
    </dgm:pt>
    <dgm:pt modelId="{80695697-1921-4A4F-8305-1145A9E963F1}" type="pres">
      <dgm:prSet presAssocID="{DC101B06-E9C8-DD49-8ED0-95180321EB08}" presName="compNode" presStyleCnt="0"/>
      <dgm:spPr/>
    </dgm:pt>
    <dgm:pt modelId="{F1B59482-22B8-1D41-A1BE-824BD697D644}" type="pres">
      <dgm:prSet presAssocID="{DC101B06-E9C8-DD49-8ED0-95180321EB08}" presName="dummyConnPt" presStyleCnt="0"/>
      <dgm:spPr/>
    </dgm:pt>
    <dgm:pt modelId="{1FC93602-340C-B244-B9D3-94A0EE833A9E}" type="pres">
      <dgm:prSet presAssocID="{DC101B06-E9C8-DD49-8ED0-95180321EB08}" presName="node" presStyleLbl="node1" presStyleIdx="10" presStyleCnt="12">
        <dgm:presLayoutVars>
          <dgm:bulletEnabled val="1"/>
        </dgm:presLayoutVars>
      </dgm:prSet>
      <dgm:spPr/>
    </dgm:pt>
    <dgm:pt modelId="{E89F5328-EBDE-2D4A-8DFB-550ACB85A395}" type="pres">
      <dgm:prSet presAssocID="{5F34B069-9EF6-9C42-ABAB-68E69CAD1A4A}" presName="sibTrans" presStyleLbl="bgSibTrans2D1" presStyleIdx="10" presStyleCnt="11"/>
      <dgm:spPr/>
    </dgm:pt>
    <dgm:pt modelId="{639BF259-29EA-6C40-8643-057CA0305919}" type="pres">
      <dgm:prSet presAssocID="{9F7B3CF8-100A-CC47-9566-12C9829C39F2}" presName="compNode" presStyleCnt="0"/>
      <dgm:spPr/>
    </dgm:pt>
    <dgm:pt modelId="{30CA6AE8-5557-0842-91EE-C5B7CDFB3ACF}" type="pres">
      <dgm:prSet presAssocID="{9F7B3CF8-100A-CC47-9566-12C9829C39F2}" presName="dummyConnPt" presStyleCnt="0"/>
      <dgm:spPr/>
    </dgm:pt>
    <dgm:pt modelId="{6EDAFC03-3C9F-FB42-B27E-50A180B479D2}" type="pres">
      <dgm:prSet presAssocID="{9F7B3CF8-100A-CC47-9566-12C9829C39F2}" presName="node" presStyleLbl="node1" presStyleIdx="11" presStyleCnt="12">
        <dgm:presLayoutVars>
          <dgm:bulletEnabled val="1"/>
        </dgm:presLayoutVars>
      </dgm:prSet>
      <dgm:spPr/>
    </dgm:pt>
  </dgm:ptLst>
  <dgm:cxnLst>
    <dgm:cxn modelId="{90433B0C-2A7A-BE48-9A05-AE31D6570F05}" type="presOf" srcId="{032190DE-C15B-2A48-A58E-87D638CFEB1C}" destId="{E910F89B-D02D-7D43-A8C4-36F30B6D2290}" srcOrd="0" destOrd="0" presId="urn:microsoft.com/office/officeart/2005/8/layout/bProcess4"/>
    <dgm:cxn modelId="{FB84E90F-7325-A145-9D7A-77A3D125D54A}" type="presOf" srcId="{12878B08-157B-E545-9999-EAD33551EA3E}" destId="{91E41B5B-74C3-9542-A691-1E95ACCE1ED3}" srcOrd="0" destOrd="0" presId="urn:microsoft.com/office/officeart/2005/8/layout/bProcess4"/>
    <dgm:cxn modelId="{C9201F11-9F39-8949-8AD2-CC1C63AB8088}" type="presOf" srcId="{78BA1AEF-DBCA-6743-8775-8A0BCE369732}" destId="{46E295A1-4340-F84D-BAB0-2BBC881A99A7}" srcOrd="0" destOrd="0" presId="urn:microsoft.com/office/officeart/2005/8/layout/bProcess4"/>
    <dgm:cxn modelId="{F2977F1B-E194-1544-AD18-5D04E8694CCF}" type="presOf" srcId="{4D8CA969-85DE-D24E-B28B-0B3572C64B4E}" destId="{7B5902CC-4F9B-E441-8890-AAEFE1C1DF65}" srcOrd="0" destOrd="0" presId="urn:microsoft.com/office/officeart/2005/8/layout/bProcess4"/>
    <dgm:cxn modelId="{8E2DD521-785E-BE4F-9528-7870069EA167}" type="presOf" srcId="{CC4ED3A6-DFF4-B84D-929C-43C66DDAEB42}" destId="{D58C2A91-FD65-9A4F-A16A-0978A5F40519}" srcOrd="0" destOrd="0" presId="urn:microsoft.com/office/officeart/2005/8/layout/bProcess4"/>
    <dgm:cxn modelId="{F9C3A022-CA85-5748-B142-316644B69E60}" srcId="{C43D8561-AA3C-D245-A2CA-8D0EB81178AF}" destId="{58FF8BF7-08A4-D146-B0FD-18B051226B85}" srcOrd="9" destOrd="0" parTransId="{E4F1BA72-F529-E14E-9514-3BA638BF1E40}" sibTransId="{57BFDADD-A29F-3649-B18A-F6D562872853}"/>
    <dgm:cxn modelId="{978A312F-5364-E945-9AA8-31E05220222F}" srcId="{C43D8561-AA3C-D245-A2CA-8D0EB81178AF}" destId="{032190DE-C15B-2A48-A58E-87D638CFEB1C}" srcOrd="5" destOrd="0" parTransId="{D480FAF7-E965-E149-9DCC-57AF6B02D560}" sibTransId="{4D2AC947-2195-AE46-B12E-8FB3588CB83C}"/>
    <dgm:cxn modelId="{95EFFF34-E2AA-D24C-BD0E-199710A3973B}" type="presOf" srcId="{97C6123A-D3EA-E541-BB75-6C303DD140FF}" destId="{86A52B42-6076-E445-B931-78F08FF01176}" srcOrd="0" destOrd="0" presId="urn:microsoft.com/office/officeart/2005/8/layout/bProcess4"/>
    <dgm:cxn modelId="{10C00D3D-12FF-044E-82B8-ECE6677FAE4B}" type="presOf" srcId="{9F7B3CF8-100A-CC47-9566-12C9829C39F2}" destId="{6EDAFC03-3C9F-FB42-B27E-50A180B479D2}" srcOrd="0" destOrd="0" presId="urn:microsoft.com/office/officeart/2005/8/layout/bProcess4"/>
    <dgm:cxn modelId="{379B2842-22D4-EB40-8AEB-CB9E8E1C17A6}" srcId="{C43D8561-AA3C-D245-A2CA-8D0EB81178AF}" destId="{9F66F4B0-5314-CD4B-AAC5-6C32F6919819}" srcOrd="3" destOrd="0" parTransId="{5E9D793B-5322-C340-B7B9-7C2AAF1EE5ED}" sibTransId="{1E3A04CB-BC42-764C-8A9F-D0AA44F78A81}"/>
    <dgm:cxn modelId="{FC34CC47-8276-6B4C-B721-FA0219E979BD}" srcId="{C43D8561-AA3C-D245-A2CA-8D0EB81178AF}" destId="{9F7B3CF8-100A-CC47-9566-12C9829C39F2}" srcOrd="11" destOrd="0" parTransId="{285F26CC-363C-344A-B9D1-84112372209D}" sibTransId="{D2A335EA-D04F-A346-8F00-E486CFC4AFDB}"/>
    <dgm:cxn modelId="{09941049-861D-B642-8B29-2716D5A21CB1}" srcId="{C43D8561-AA3C-D245-A2CA-8D0EB81178AF}" destId="{4D8CA969-85DE-D24E-B28B-0B3572C64B4E}" srcOrd="1" destOrd="0" parTransId="{DBD23BE2-F1CA-6042-BC60-C998534DF684}" sibTransId="{0824D7E4-690D-CC4F-81E7-C941A3E5B051}"/>
    <dgm:cxn modelId="{42317C5F-F803-2A49-89ED-39207FEFAEDF}" type="presOf" srcId="{3DB18D5B-1C4C-514C-9933-4D958BA7F2AD}" destId="{53839300-6DF0-5D45-AC1B-4033F2256B2E}" srcOrd="0" destOrd="0" presId="urn:microsoft.com/office/officeart/2005/8/layout/bProcess4"/>
    <dgm:cxn modelId="{710BAB60-5D95-A74A-ADE5-6FAC037D167B}" srcId="{C43D8561-AA3C-D245-A2CA-8D0EB81178AF}" destId="{5512C007-6843-CA44-A41B-F25A37D889E5}" srcOrd="8" destOrd="0" parTransId="{F8A353E5-27F4-0848-A2CC-02252F8FB8B1}" sibTransId="{31757DE6-B9FE-AA44-8FE3-0084D5F6A500}"/>
    <dgm:cxn modelId="{7C1AD964-14E3-094A-8E00-211A241D38CD}" type="presOf" srcId="{CAFCD01A-B203-954E-AC6B-CA50A1189BC7}" destId="{A89B9B16-D6F4-EA4C-AB25-11FCA61B4CB6}" srcOrd="0" destOrd="0" presId="urn:microsoft.com/office/officeart/2005/8/layout/bProcess4"/>
    <dgm:cxn modelId="{756AEC76-9A72-D94E-85B5-8071023F3235}" type="presOf" srcId="{1E3A04CB-BC42-764C-8A9F-D0AA44F78A81}" destId="{1494652F-F895-0349-8AEA-89B6A1A8E120}" srcOrd="0" destOrd="0" presId="urn:microsoft.com/office/officeart/2005/8/layout/bProcess4"/>
    <dgm:cxn modelId="{1DB3878C-E2A3-7340-A6E1-4F3E1D55392B}" srcId="{C43D8561-AA3C-D245-A2CA-8D0EB81178AF}" destId="{83E3BC0F-0D6C-2042-938E-E384C9CAC761}" srcOrd="2" destOrd="0" parTransId="{C5B824EF-E511-E14D-811B-CCE1402C5B9F}" sibTransId="{12878B08-157B-E545-9999-EAD33551EA3E}"/>
    <dgm:cxn modelId="{376C749A-F8EC-074D-81D0-A0E9C3FA731D}" type="presOf" srcId="{C43D8561-AA3C-D245-A2CA-8D0EB81178AF}" destId="{808A95D0-3365-BE46-BFE0-7E7B45E7B3DD}" srcOrd="0" destOrd="0" presId="urn:microsoft.com/office/officeart/2005/8/layout/bProcess4"/>
    <dgm:cxn modelId="{5AE2D6A8-8C88-7F48-B9A8-953AE3AC6DA4}" srcId="{C43D8561-AA3C-D245-A2CA-8D0EB81178AF}" destId="{30413973-DA0F-BF44-B2B4-A9CD4CEC30EF}" srcOrd="6" destOrd="0" parTransId="{7DC9DB29-7ED1-AF49-B8C6-97E20B1F7E74}" sibTransId="{97C6123A-D3EA-E541-BB75-6C303DD140FF}"/>
    <dgm:cxn modelId="{96A35ABA-9079-7744-A287-E47398F1E0C3}" type="presOf" srcId="{009B329A-1304-0746-AD9B-4E7ABF633427}" destId="{41EE7AAE-24F3-4141-A458-2C50DDEF6211}" srcOrd="0" destOrd="0" presId="urn:microsoft.com/office/officeart/2005/8/layout/bProcess4"/>
    <dgm:cxn modelId="{557055BC-0C01-BE4E-BD12-760CD84674F5}" type="presOf" srcId="{31757DE6-B9FE-AA44-8FE3-0084D5F6A500}" destId="{0F90293C-7509-1E44-B894-38413DFAD520}" srcOrd="0" destOrd="0" presId="urn:microsoft.com/office/officeart/2005/8/layout/bProcess4"/>
    <dgm:cxn modelId="{0ED0CEC2-C369-EB40-AA82-814DCFAD04ED}" type="presOf" srcId="{5F34B069-9EF6-9C42-ABAB-68E69CAD1A4A}" destId="{E89F5328-EBDE-2D4A-8DFB-550ACB85A395}" srcOrd="0" destOrd="0" presId="urn:microsoft.com/office/officeart/2005/8/layout/bProcess4"/>
    <dgm:cxn modelId="{5480E6C6-9F52-B047-8B6B-EB554D8F1D35}" type="presOf" srcId="{30413973-DA0F-BF44-B2B4-A9CD4CEC30EF}" destId="{06420F53-60A6-4B46-BBBF-EA350BF7F5B5}" srcOrd="0" destOrd="0" presId="urn:microsoft.com/office/officeart/2005/8/layout/bProcess4"/>
    <dgm:cxn modelId="{3328E5C7-646B-3A4F-920B-F7B465CC1568}" srcId="{C43D8561-AA3C-D245-A2CA-8D0EB81178AF}" destId="{DC101B06-E9C8-DD49-8ED0-95180321EB08}" srcOrd="10" destOrd="0" parTransId="{AC14794F-394F-BC47-8166-8F8519BB50F9}" sibTransId="{5F34B069-9EF6-9C42-ABAB-68E69CAD1A4A}"/>
    <dgm:cxn modelId="{C59D14C8-5FED-6D4F-9575-41F4237525E4}" srcId="{C43D8561-AA3C-D245-A2CA-8D0EB81178AF}" destId="{78BA1AEF-DBCA-6743-8775-8A0BCE369732}" srcOrd="7" destOrd="0" parTransId="{572B9286-7E49-7147-9E67-843D35F21858}" sibTransId="{CAFCD01A-B203-954E-AC6B-CA50A1189BC7}"/>
    <dgm:cxn modelId="{8CD7B0C8-5F13-9449-A3F3-7D1DABD03E76}" type="presOf" srcId="{9F66F4B0-5314-CD4B-AAC5-6C32F6919819}" destId="{7DD47CFB-CA3E-D040-B6C6-1635865A3AE7}" srcOrd="0" destOrd="0" presId="urn:microsoft.com/office/officeart/2005/8/layout/bProcess4"/>
    <dgm:cxn modelId="{41248BCD-0CAD-AD47-8094-F5A86502F829}" type="presOf" srcId="{0824D7E4-690D-CC4F-81E7-C941A3E5B051}" destId="{53AC0603-BEC4-2A41-AD04-5AA3CF4DB84B}" srcOrd="0" destOrd="0" presId="urn:microsoft.com/office/officeart/2005/8/layout/bProcess4"/>
    <dgm:cxn modelId="{D50B5ED1-28E5-BA4C-BFDF-04E6330419AD}" type="presOf" srcId="{4D2AC947-2195-AE46-B12E-8FB3588CB83C}" destId="{B395F359-16B3-C044-A6CC-31B4B13BEA89}" srcOrd="0" destOrd="0" presId="urn:microsoft.com/office/officeart/2005/8/layout/bProcess4"/>
    <dgm:cxn modelId="{B60147DB-E3E4-0D4C-B53F-223A1519F276}" srcId="{C43D8561-AA3C-D245-A2CA-8D0EB81178AF}" destId="{009B329A-1304-0746-AD9B-4E7ABF633427}" srcOrd="4" destOrd="0" parTransId="{27FC3BCF-5C16-4E41-A99F-94C4CA82F8AE}" sibTransId="{3DB18D5B-1C4C-514C-9933-4D958BA7F2AD}"/>
    <dgm:cxn modelId="{BB405EEA-4658-7748-B60D-C5D0752FBB85}" type="presOf" srcId="{58FF8BF7-08A4-D146-B0FD-18B051226B85}" destId="{A6F72A1D-68FF-584D-A4EF-507A0879FDEC}" srcOrd="0" destOrd="0" presId="urn:microsoft.com/office/officeart/2005/8/layout/bProcess4"/>
    <dgm:cxn modelId="{882750ED-9B02-7E4D-92F8-5E9F52F4C446}" type="presOf" srcId="{9DE2C76D-661D-454C-84F5-746B00AC8ED1}" destId="{12854B74-FC94-DF47-B803-444646F9759A}" srcOrd="0" destOrd="0" presId="urn:microsoft.com/office/officeart/2005/8/layout/bProcess4"/>
    <dgm:cxn modelId="{FAC132F0-02DE-9045-988B-FBF9C84A3AF5}" type="presOf" srcId="{5512C007-6843-CA44-A41B-F25A37D889E5}" destId="{EF1E5C18-69AF-4B47-B3D3-23CEA5C2500B}" srcOrd="0" destOrd="0" presId="urn:microsoft.com/office/officeart/2005/8/layout/bProcess4"/>
    <dgm:cxn modelId="{F7C51AF3-A9A7-A64E-AA65-BBA94E53BFF4}" srcId="{C43D8561-AA3C-D245-A2CA-8D0EB81178AF}" destId="{9DE2C76D-661D-454C-84F5-746B00AC8ED1}" srcOrd="0" destOrd="0" parTransId="{067D57C3-F9C3-D141-BEC6-BC5B34927AF8}" sibTransId="{CC4ED3A6-DFF4-B84D-929C-43C66DDAEB42}"/>
    <dgm:cxn modelId="{1E2F1EFB-8D42-DF40-9ECF-2930B4EA4A25}" type="presOf" srcId="{DC101B06-E9C8-DD49-8ED0-95180321EB08}" destId="{1FC93602-340C-B244-B9D3-94A0EE833A9E}" srcOrd="0" destOrd="0" presId="urn:microsoft.com/office/officeart/2005/8/layout/bProcess4"/>
    <dgm:cxn modelId="{16222EFC-FA1D-3A4E-9E73-4AB59B9EFC9E}" type="presOf" srcId="{83E3BC0F-0D6C-2042-938E-E384C9CAC761}" destId="{AE294A33-5230-224E-B982-09DA160CE86D}" srcOrd="0" destOrd="0" presId="urn:microsoft.com/office/officeart/2005/8/layout/bProcess4"/>
    <dgm:cxn modelId="{273DA1FD-C472-4C4F-AD15-68CB891C3B7A}" type="presOf" srcId="{57BFDADD-A29F-3649-B18A-F6D562872853}" destId="{32FB0798-6262-6348-AC06-FFAF64B60231}" srcOrd="0" destOrd="0" presId="urn:microsoft.com/office/officeart/2005/8/layout/bProcess4"/>
    <dgm:cxn modelId="{C0397498-ED7A-E149-A0B8-8580228F8E5C}" type="presParOf" srcId="{808A95D0-3365-BE46-BFE0-7E7B45E7B3DD}" destId="{FEFF8FD2-5D1E-2548-8ABA-1246B9591F62}" srcOrd="0" destOrd="0" presId="urn:microsoft.com/office/officeart/2005/8/layout/bProcess4"/>
    <dgm:cxn modelId="{CC8B11CF-7DD2-B64A-87DE-C7E80D574150}" type="presParOf" srcId="{FEFF8FD2-5D1E-2548-8ABA-1246B9591F62}" destId="{69C408B2-E743-1941-9C21-38EE7AE19C8A}" srcOrd="0" destOrd="0" presId="urn:microsoft.com/office/officeart/2005/8/layout/bProcess4"/>
    <dgm:cxn modelId="{1A22DD0D-F651-BA44-AEDA-6F3325E84582}" type="presParOf" srcId="{FEFF8FD2-5D1E-2548-8ABA-1246B9591F62}" destId="{12854B74-FC94-DF47-B803-444646F9759A}" srcOrd="1" destOrd="0" presId="urn:microsoft.com/office/officeart/2005/8/layout/bProcess4"/>
    <dgm:cxn modelId="{E0DBC41B-4E1E-664A-A188-BE22D95ACCA3}" type="presParOf" srcId="{808A95D0-3365-BE46-BFE0-7E7B45E7B3DD}" destId="{D58C2A91-FD65-9A4F-A16A-0978A5F40519}" srcOrd="1" destOrd="0" presId="urn:microsoft.com/office/officeart/2005/8/layout/bProcess4"/>
    <dgm:cxn modelId="{B68EB13A-637C-BF46-A231-E38CEE48F9EA}" type="presParOf" srcId="{808A95D0-3365-BE46-BFE0-7E7B45E7B3DD}" destId="{52FABC84-72AF-0B4E-ABE4-C6A9961896B8}" srcOrd="2" destOrd="0" presId="urn:microsoft.com/office/officeart/2005/8/layout/bProcess4"/>
    <dgm:cxn modelId="{DE56AB1F-C541-324D-B235-9CEDD1D54129}" type="presParOf" srcId="{52FABC84-72AF-0B4E-ABE4-C6A9961896B8}" destId="{9A1550AA-D9FE-8C4A-BF95-FECF28BDB685}" srcOrd="0" destOrd="0" presId="urn:microsoft.com/office/officeart/2005/8/layout/bProcess4"/>
    <dgm:cxn modelId="{94F28214-8DF8-BA44-AD9D-119E0E5322C3}" type="presParOf" srcId="{52FABC84-72AF-0B4E-ABE4-C6A9961896B8}" destId="{7B5902CC-4F9B-E441-8890-AAEFE1C1DF65}" srcOrd="1" destOrd="0" presId="urn:microsoft.com/office/officeart/2005/8/layout/bProcess4"/>
    <dgm:cxn modelId="{0562B5CE-9865-4B4D-BF02-D80E832BAE1A}" type="presParOf" srcId="{808A95D0-3365-BE46-BFE0-7E7B45E7B3DD}" destId="{53AC0603-BEC4-2A41-AD04-5AA3CF4DB84B}" srcOrd="3" destOrd="0" presId="urn:microsoft.com/office/officeart/2005/8/layout/bProcess4"/>
    <dgm:cxn modelId="{A29A4969-8812-7E40-B953-677A7A8D2006}" type="presParOf" srcId="{808A95D0-3365-BE46-BFE0-7E7B45E7B3DD}" destId="{8CBCC9B1-1885-4243-9EEE-6EDEF96123DD}" srcOrd="4" destOrd="0" presId="urn:microsoft.com/office/officeart/2005/8/layout/bProcess4"/>
    <dgm:cxn modelId="{C6F952B8-7AAB-8549-8B4C-F5B4CBCE162B}" type="presParOf" srcId="{8CBCC9B1-1885-4243-9EEE-6EDEF96123DD}" destId="{354F910D-6E03-ED4C-A74C-0B66AB326297}" srcOrd="0" destOrd="0" presId="urn:microsoft.com/office/officeart/2005/8/layout/bProcess4"/>
    <dgm:cxn modelId="{3EBE6FB7-6FFF-D64F-8FF0-AF43B42F5220}" type="presParOf" srcId="{8CBCC9B1-1885-4243-9EEE-6EDEF96123DD}" destId="{AE294A33-5230-224E-B982-09DA160CE86D}" srcOrd="1" destOrd="0" presId="urn:microsoft.com/office/officeart/2005/8/layout/bProcess4"/>
    <dgm:cxn modelId="{90E26E68-4BC7-8845-AEDB-71FCCC68E547}" type="presParOf" srcId="{808A95D0-3365-BE46-BFE0-7E7B45E7B3DD}" destId="{91E41B5B-74C3-9542-A691-1E95ACCE1ED3}" srcOrd="5" destOrd="0" presId="urn:microsoft.com/office/officeart/2005/8/layout/bProcess4"/>
    <dgm:cxn modelId="{299D3589-D0AE-ED4F-8AF8-B86C8FF3D473}" type="presParOf" srcId="{808A95D0-3365-BE46-BFE0-7E7B45E7B3DD}" destId="{608BBE0F-831D-074F-908B-F295681EA1F5}" srcOrd="6" destOrd="0" presId="urn:microsoft.com/office/officeart/2005/8/layout/bProcess4"/>
    <dgm:cxn modelId="{AB291740-382B-CC46-9485-A0C56CD5EFBD}" type="presParOf" srcId="{608BBE0F-831D-074F-908B-F295681EA1F5}" destId="{2EA2D87A-ADC6-D14F-8CEB-B5AA13AE7B94}" srcOrd="0" destOrd="0" presId="urn:microsoft.com/office/officeart/2005/8/layout/bProcess4"/>
    <dgm:cxn modelId="{6419A083-0505-DD40-8648-1FD37FC7DEDC}" type="presParOf" srcId="{608BBE0F-831D-074F-908B-F295681EA1F5}" destId="{7DD47CFB-CA3E-D040-B6C6-1635865A3AE7}" srcOrd="1" destOrd="0" presId="urn:microsoft.com/office/officeart/2005/8/layout/bProcess4"/>
    <dgm:cxn modelId="{83FEBEF2-C32F-4B49-817C-AB3947E61C39}" type="presParOf" srcId="{808A95D0-3365-BE46-BFE0-7E7B45E7B3DD}" destId="{1494652F-F895-0349-8AEA-89B6A1A8E120}" srcOrd="7" destOrd="0" presId="urn:microsoft.com/office/officeart/2005/8/layout/bProcess4"/>
    <dgm:cxn modelId="{E7B7A72B-A376-F740-8957-A207C0E9068D}" type="presParOf" srcId="{808A95D0-3365-BE46-BFE0-7E7B45E7B3DD}" destId="{A0FE41AB-5CD2-A548-8C7A-5B3CB5CC33CE}" srcOrd="8" destOrd="0" presId="urn:microsoft.com/office/officeart/2005/8/layout/bProcess4"/>
    <dgm:cxn modelId="{BD40D1EA-6962-6B4E-AF9D-5318347F5611}" type="presParOf" srcId="{A0FE41AB-5CD2-A548-8C7A-5B3CB5CC33CE}" destId="{21CFAD69-124E-B147-A327-9B6E0816A5C5}" srcOrd="0" destOrd="0" presId="urn:microsoft.com/office/officeart/2005/8/layout/bProcess4"/>
    <dgm:cxn modelId="{0EFA4288-0E0E-1F41-B07B-590F4C39A957}" type="presParOf" srcId="{A0FE41AB-5CD2-A548-8C7A-5B3CB5CC33CE}" destId="{41EE7AAE-24F3-4141-A458-2C50DDEF6211}" srcOrd="1" destOrd="0" presId="urn:microsoft.com/office/officeart/2005/8/layout/bProcess4"/>
    <dgm:cxn modelId="{96956965-5EB6-4A43-AF55-2CA4A82D0C62}" type="presParOf" srcId="{808A95D0-3365-BE46-BFE0-7E7B45E7B3DD}" destId="{53839300-6DF0-5D45-AC1B-4033F2256B2E}" srcOrd="9" destOrd="0" presId="urn:microsoft.com/office/officeart/2005/8/layout/bProcess4"/>
    <dgm:cxn modelId="{5066D4A0-A9AD-C245-A899-44D6206D40FA}" type="presParOf" srcId="{808A95D0-3365-BE46-BFE0-7E7B45E7B3DD}" destId="{B9EA95EE-87BC-FE4B-B2B7-506C130628BD}" srcOrd="10" destOrd="0" presId="urn:microsoft.com/office/officeart/2005/8/layout/bProcess4"/>
    <dgm:cxn modelId="{A12E6BBF-B97C-F945-8D56-BC43AFDF5789}" type="presParOf" srcId="{B9EA95EE-87BC-FE4B-B2B7-506C130628BD}" destId="{A9957AE1-1FE3-C249-A3F6-1C26A14C0038}" srcOrd="0" destOrd="0" presId="urn:microsoft.com/office/officeart/2005/8/layout/bProcess4"/>
    <dgm:cxn modelId="{CB56B38A-32DF-0D46-B1D5-4D8719F867B9}" type="presParOf" srcId="{B9EA95EE-87BC-FE4B-B2B7-506C130628BD}" destId="{E910F89B-D02D-7D43-A8C4-36F30B6D2290}" srcOrd="1" destOrd="0" presId="urn:microsoft.com/office/officeart/2005/8/layout/bProcess4"/>
    <dgm:cxn modelId="{32C3D45C-9C98-4348-826F-296420425D7F}" type="presParOf" srcId="{808A95D0-3365-BE46-BFE0-7E7B45E7B3DD}" destId="{B395F359-16B3-C044-A6CC-31B4B13BEA89}" srcOrd="11" destOrd="0" presId="urn:microsoft.com/office/officeart/2005/8/layout/bProcess4"/>
    <dgm:cxn modelId="{BF543578-1032-9444-BCEB-EC4663B262A2}" type="presParOf" srcId="{808A95D0-3365-BE46-BFE0-7E7B45E7B3DD}" destId="{1BA18B2E-D82B-B747-982E-CE4512651E7F}" srcOrd="12" destOrd="0" presId="urn:microsoft.com/office/officeart/2005/8/layout/bProcess4"/>
    <dgm:cxn modelId="{662FD643-A823-F241-8BE2-5549F1DB71D6}" type="presParOf" srcId="{1BA18B2E-D82B-B747-982E-CE4512651E7F}" destId="{0FE28540-02A6-CD46-A6F9-09E37BA04266}" srcOrd="0" destOrd="0" presId="urn:microsoft.com/office/officeart/2005/8/layout/bProcess4"/>
    <dgm:cxn modelId="{5CCCD663-7AFB-2D43-9BCE-A108F9F0A4D9}" type="presParOf" srcId="{1BA18B2E-D82B-B747-982E-CE4512651E7F}" destId="{06420F53-60A6-4B46-BBBF-EA350BF7F5B5}" srcOrd="1" destOrd="0" presId="urn:microsoft.com/office/officeart/2005/8/layout/bProcess4"/>
    <dgm:cxn modelId="{52874425-1DE4-C743-8378-104F18B0F04B}" type="presParOf" srcId="{808A95D0-3365-BE46-BFE0-7E7B45E7B3DD}" destId="{86A52B42-6076-E445-B931-78F08FF01176}" srcOrd="13" destOrd="0" presId="urn:microsoft.com/office/officeart/2005/8/layout/bProcess4"/>
    <dgm:cxn modelId="{AE16C877-CEF7-0C43-9D54-C64C7D0C72D3}" type="presParOf" srcId="{808A95D0-3365-BE46-BFE0-7E7B45E7B3DD}" destId="{BF7B6C50-802C-CC49-94A9-2397C51AAFDC}" srcOrd="14" destOrd="0" presId="urn:microsoft.com/office/officeart/2005/8/layout/bProcess4"/>
    <dgm:cxn modelId="{7C05E055-6481-3843-827A-83D65ACBAEBC}" type="presParOf" srcId="{BF7B6C50-802C-CC49-94A9-2397C51AAFDC}" destId="{CF303D39-D33F-724F-9BF8-78DBD0388A63}" srcOrd="0" destOrd="0" presId="urn:microsoft.com/office/officeart/2005/8/layout/bProcess4"/>
    <dgm:cxn modelId="{5214862A-7CB6-D548-97ED-994FC51E5C73}" type="presParOf" srcId="{BF7B6C50-802C-CC49-94A9-2397C51AAFDC}" destId="{46E295A1-4340-F84D-BAB0-2BBC881A99A7}" srcOrd="1" destOrd="0" presId="urn:microsoft.com/office/officeart/2005/8/layout/bProcess4"/>
    <dgm:cxn modelId="{1A61E9F9-5900-F344-B783-060ECEBBC7F4}" type="presParOf" srcId="{808A95D0-3365-BE46-BFE0-7E7B45E7B3DD}" destId="{A89B9B16-D6F4-EA4C-AB25-11FCA61B4CB6}" srcOrd="15" destOrd="0" presId="urn:microsoft.com/office/officeart/2005/8/layout/bProcess4"/>
    <dgm:cxn modelId="{784E436A-D4E9-7247-833A-DCA3EB3E0C6B}" type="presParOf" srcId="{808A95D0-3365-BE46-BFE0-7E7B45E7B3DD}" destId="{F1E6F783-7D18-F042-9784-FB181F487D63}" srcOrd="16" destOrd="0" presId="urn:microsoft.com/office/officeart/2005/8/layout/bProcess4"/>
    <dgm:cxn modelId="{F9B6C96D-DA34-8B4B-8A25-9EBFCA3E5D92}" type="presParOf" srcId="{F1E6F783-7D18-F042-9784-FB181F487D63}" destId="{2882C65E-AFF0-8E44-9943-1D98423AB28A}" srcOrd="0" destOrd="0" presId="urn:microsoft.com/office/officeart/2005/8/layout/bProcess4"/>
    <dgm:cxn modelId="{92556FCA-F7D1-8244-8884-4C31C359AF7B}" type="presParOf" srcId="{F1E6F783-7D18-F042-9784-FB181F487D63}" destId="{EF1E5C18-69AF-4B47-B3D3-23CEA5C2500B}" srcOrd="1" destOrd="0" presId="urn:microsoft.com/office/officeart/2005/8/layout/bProcess4"/>
    <dgm:cxn modelId="{B96A75DD-89F6-0B4A-B698-3BDAE031B092}" type="presParOf" srcId="{808A95D0-3365-BE46-BFE0-7E7B45E7B3DD}" destId="{0F90293C-7509-1E44-B894-38413DFAD520}" srcOrd="17" destOrd="0" presId="urn:microsoft.com/office/officeart/2005/8/layout/bProcess4"/>
    <dgm:cxn modelId="{D7A641F8-4F31-E542-8143-0391601356E6}" type="presParOf" srcId="{808A95D0-3365-BE46-BFE0-7E7B45E7B3DD}" destId="{8A07FD64-7037-AD41-8711-C22DF638BCFA}" srcOrd="18" destOrd="0" presId="urn:microsoft.com/office/officeart/2005/8/layout/bProcess4"/>
    <dgm:cxn modelId="{DF256DD5-18FB-5D4F-862A-AE22A309D175}" type="presParOf" srcId="{8A07FD64-7037-AD41-8711-C22DF638BCFA}" destId="{588E4A00-50D3-8B46-9A1B-61A03DFF1705}" srcOrd="0" destOrd="0" presId="urn:microsoft.com/office/officeart/2005/8/layout/bProcess4"/>
    <dgm:cxn modelId="{CBFA2511-5751-2D45-9342-59BFA888537B}" type="presParOf" srcId="{8A07FD64-7037-AD41-8711-C22DF638BCFA}" destId="{A6F72A1D-68FF-584D-A4EF-507A0879FDEC}" srcOrd="1" destOrd="0" presId="urn:microsoft.com/office/officeart/2005/8/layout/bProcess4"/>
    <dgm:cxn modelId="{9249EA3F-36BF-F048-B8E9-C1B430FAEAA3}" type="presParOf" srcId="{808A95D0-3365-BE46-BFE0-7E7B45E7B3DD}" destId="{32FB0798-6262-6348-AC06-FFAF64B60231}" srcOrd="19" destOrd="0" presId="urn:microsoft.com/office/officeart/2005/8/layout/bProcess4"/>
    <dgm:cxn modelId="{7809B7C3-19AA-8341-94A1-DA744A57214E}" type="presParOf" srcId="{808A95D0-3365-BE46-BFE0-7E7B45E7B3DD}" destId="{80695697-1921-4A4F-8305-1145A9E963F1}" srcOrd="20" destOrd="0" presId="urn:microsoft.com/office/officeart/2005/8/layout/bProcess4"/>
    <dgm:cxn modelId="{7C053901-3C95-3A44-AF3E-C1519F23B72D}" type="presParOf" srcId="{80695697-1921-4A4F-8305-1145A9E963F1}" destId="{F1B59482-22B8-1D41-A1BE-824BD697D644}" srcOrd="0" destOrd="0" presId="urn:microsoft.com/office/officeart/2005/8/layout/bProcess4"/>
    <dgm:cxn modelId="{59080153-193D-8E4F-9F29-4B92DBD1AB79}" type="presParOf" srcId="{80695697-1921-4A4F-8305-1145A9E963F1}" destId="{1FC93602-340C-B244-B9D3-94A0EE833A9E}" srcOrd="1" destOrd="0" presId="urn:microsoft.com/office/officeart/2005/8/layout/bProcess4"/>
    <dgm:cxn modelId="{F2DE56C1-8226-ED49-941D-170114CAB060}" type="presParOf" srcId="{808A95D0-3365-BE46-BFE0-7E7B45E7B3DD}" destId="{E89F5328-EBDE-2D4A-8DFB-550ACB85A395}" srcOrd="21" destOrd="0" presId="urn:microsoft.com/office/officeart/2005/8/layout/bProcess4"/>
    <dgm:cxn modelId="{D42BD77B-EEC5-7849-801C-CEE1BD59B7B6}" type="presParOf" srcId="{808A95D0-3365-BE46-BFE0-7E7B45E7B3DD}" destId="{639BF259-29EA-6C40-8643-057CA0305919}" srcOrd="22" destOrd="0" presId="urn:microsoft.com/office/officeart/2005/8/layout/bProcess4"/>
    <dgm:cxn modelId="{3466DA3C-2461-F249-A7DB-CC1446A992B5}" type="presParOf" srcId="{639BF259-29EA-6C40-8643-057CA0305919}" destId="{30CA6AE8-5557-0842-91EE-C5B7CDFB3ACF}" srcOrd="0" destOrd="0" presId="urn:microsoft.com/office/officeart/2005/8/layout/bProcess4"/>
    <dgm:cxn modelId="{C33520B7-DBB7-9949-9CF4-DAD93EF4003C}" type="presParOf" srcId="{639BF259-29EA-6C40-8643-057CA0305919}" destId="{6EDAFC03-3C9F-FB42-B27E-50A180B479D2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3621549-A47B-CE4D-A4BC-8FC3137FF3A8}" type="doc">
      <dgm:prSet loTypeId="urn:microsoft.com/office/officeart/2008/layout/HalfCircleOrganizationChart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GB"/>
        </a:p>
      </dgm:t>
    </dgm:pt>
    <dgm:pt modelId="{ADED0C4F-A99E-DC4D-A694-7F3BE352FD39}">
      <dgm:prSet phldrT="[Text]"/>
      <dgm:spPr/>
      <dgm:t>
        <a:bodyPr/>
        <a:lstStyle/>
        <a:p>
          <a:r>
            <a:rPr lang="en-GB"/>
            <a:t>Datastore</a:t>
          </a:r>
        </a:p>
      </dgm:t>
    </dgm:pt>
    <dgm:pt modelId="{4A86F4D4-671D-7D4D-B681-5CEFA81F5AF2}" type="parTrans" cxnId="{BA7D84F5-5907-5541-91C1-7D65A458A02C}">
      <dgm:prSet/>
      <dgm:spPr/>
      <dgm:t>
        <a:bodyPr/>
        <a:lstStyle/>
        <a:p>
          <a:endParaRPr lang="en-GB"/>
        </a:p>
      </dgm:t>
    </dgm:pt>
    <dgm:pt modelId="{D656FA9C-BD17-D844-AF8B-538ED01EC0E5}" type="sibTrans" cxnId="{BA7D84F5-5907-5541-91C1-7D65A458A02C}">
      <dgm:prSet/>
      <dgm:spPr/>
      <dgm:t>
        <a:bodyPr/>
        <a:lstStyle/>
        <a:p>
          <a:endParaRPr lang="en-GB"/>
        </a:p>
      </dgm:t>
    </dgm:pt>
    <dgm:pt modelId="{879EDF08-8E81-804E-94F5-8B590898D68B}">
      <dgm:prSet phldrT="[Text]" custT="1"/>
      <dgm:spPr/>
      <dgm:t>
        <a:bodyPr/>
        <a:lstStyle/>
        <a:p>
          <a:r>
            <a:rPr lang="en-GB" sz="1600" dirty="0" err="1"/>
            <a:t>Microsoft.MachineLearningServices</a:t>
          </a:r>
          <a:r>
            <a:rPr lang="en-GB" sz="1600" dirty="0"/>
            <a:t>/workspaces/datastores/write</a:t>
          </a:r>
        </a:p>
      </dgm:t>
    </dgm:pt>
    <dgm:pt modelId="{BD8D423D-21CC-EB4A-92A3-3A68AB04B289}" type="parTrans" cxnId="{1FB8E3C6-9083-284E-BD13-B96A1864066D}">
      <dgm:prSet/>
      <dgm:spPr/>
      <dgm:t>
        <a:bodyPr/>
        <a:lstStyle/>
        <a:p>
          <a:endParaRPr lang="en-GB"/>
        </a:p>
      </dgm:t>
    </dgm:pt>
    <dgm:pt modelId="{230C6EDD-794A-9440-A137-23C486C49FE7}" type="sibTrans" cxnId="{1FB8E3C6-9083-284E-BD13-B96A1864066D}">
      <dgm:prSet/>
      <dgm:spPr/>
      <dgm:t>
        <a:bodyPr/>
        <a:lstStyle/>
        <a:p>
          <a:endParaRPr lang="en-GB"/>
        </a:p>
      </dgm:t>
    </dgm:pt>
    <dgm:pt modelId="{D470254E-8E9C-7144-9383-AC9416FE90A5}">
      <dgm:prSet phldrT="[Text]" custT="1"/>
      <dgm:spPr/>
      <dgm:t>
        <a:bodyPr/>
        <a:lstStyle/>
        <a:p>
          <a:r>
            <a:rPr lang="en-GB" sz="1400" dirty="0" err="1"/>
            <a:t>Microsoft.MachineLearningServices</a:t>
          </a:r>
          <a:r>
            <a:rPr lang="en-GB" sz="1400" dirty="0"/>
            <a:t>/workspaces/datastores/read</a:t>
          </a:r>
        </a:p>
      </dgm:t>
    </dgm:pt>
    <dgm:pt modelId="{DC5AC2EB-8ADE-0440-9A3F-EF3110A680EF}" type="parTrans" cxnId="{D13F5417-8776-EF40-B3DA-A9365BEABEDC}">
      <dgm:prSet/>
      <dgm:spPr/>
      <dgm:t>
        <a:bodyPr/>
        <a:lstStyle/>
        <a:p>
          <a:endParaRPr lang="en-GB"/>
        </a:p>
      </dgm:t>
    </dgm:pt>
    <dgm:pt modelId="{57BC46B0-35EE-634A-A5AD-0FB636C49927}" type="sibTrans" cxnId="{D13F5417-8776-EF40-B3DA-A9365BEABEDC}">
      <dgm:prSet/>
      <dgm:spPr/>
      <dgm:t>
        <a:bodyPr/>
        <a:lstStyle/>
        <a:p>
          <a:endParaRPr lang="en-GB"/>
        </a:p>
      </dgm:t>
    </dgm:pt>
    <dgm:pt modelId="{D93A3483-9A5C-B24A-B2C0-217F4921534D}">
      <dgm:prSet custT="1"/>
      <dgm:spPr/>
      <dgm:t>
        <a:bodyPr/>
        <a:lstStyle/>
        <a:p>
          <a:r>
            <a:rPr lang="en-GB" sz="1200" dirty="0" err="1"/>
            <a:t>Microsoft.MachineLearningServices</a:t>
          </a:r>
          <a:r>
            <a:rPr lang="en-GB" sz="1200" dirty="0"/>
            <a:t>/workspaces/datastores/delete</a:t>
          </a:r>
        </a:p>
      </dgm:t>
    </dgm:pt>
    <dgm:pt modelId="{AC671BF3-7BFA-0846-A091-534127273E51}" type="parTrans" cxnId="{64613679-FBF4-D549-9840-67D46E133678}">
      <dgm:prSet/>
      <dgm:spPr/>
      <dgm:t>
        <a:bodyPr/>
        <a:lstStyle/>
        <a:p>
          <a:endParaRPr lang="en-GB"/>
        </a:p>
      </dgm:t>
    </dgm:pt>
    <dgm:pt modelId="{50D924B7-0237-8848-A979-FFC3EE9F3544}" type="sibTrans" cxnId="{64613679-FBF4-D549-9840-67D46E133678}">
      <dgm:prSet/>
      <dgm:spPr/>
      <dgm:t>
        <a:bodyPr/>
        <a:lstStyle/>
        <a:p>
          <a:endParaRPr lang="en-GB"/>
        </a:p>
      </dgm:t>
    </dgm:pt>
    <dgm:pt modelId="{ECF3EF8B-A397-B641-8DDB-D7E1A71578AE}" type="pres">
      <dgm:prSet presAssocID="{23621549-A47B-CE4D-A4BC-8FC3137FF3A8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433F274-9E2F-A040-8E1B-F3AED5132C89}" type="pres">
      <dgm:prSet presAssocID="{ADED0C4F-A99E-DC4D-A694-7F3BE352FD39}" presName="hierRoot1" presStyleCnt="0">
        <dgm:presLayoutVars>
          <dgm:hierBranch val="init"/>
        </dgm:presLayoutVars>
      </dgm:prSet>
      <dgm:spPr/>
    </dgm:pt>
    <dgm:pt modelId="{D9D6D9D9-AD87-5240-A892-BA5F4D66073C}" type="pres">
      <dgm:prSet presAssocID="{ADED0C4F-A99E-DC4D-A694-7F3BE352FD39}" presName="rootComposite1" presStyleCnt="0"/>
      <dgm:spPr/>
    </dgm:pt>
    <dgm:pt modelId="{C002A4F4-0F23-C94B-9B65-CB060DD6956C}" type="pres">
      <dgm:prSet presAssocID="{ADED0C4F-A99E-DC4D-A694-7F3BE352FD39}" presName="rootText1" presStyleLbl="alignAcc1" presStyleIdx="0" presStyleCnt="0">
        <dgm:presLayoutVars>
          <dgm:chPref val="3"/>
        </dgm:presLayoutVars>
      </dgm:prSet>
      <dgm:spPr/>
    </dgm:pt>
    <dgm:pt modelId="{548BF0C4-5866-5249-B234-F0DE8CF1AD2E}" type="pres">
      <dgm:prSet presAssocID="{ADED0C4F-A99E-DC4D-A694-7F3BE352FD39}" presName="topArc1" presStyleLbl="parChTrans1D1" presStyleIdx="0" presStyleCnt="8"/>
      <dgm:spPr/>
    </dgm:pt>
    <dgm:pt modelId="{EFAC71DF-74B0-EC4A-944B-DC8A81659997}" type="pres">
      <dgm:prSet presAssocID="{ADED0C4F-A99E-DC4D-A694-7F3BE352FD39}" presName="bottomArc1" presStyleLbl="parChTrans1D1" presStyleIdx="1" presStyleCnt="8"/>
      <dgm:spPr/>
    </dgm:pt>
    <dgm:pt modelId="{7309CF6B-C6E9-DA42-BF13-214AAD323DAC}" type="pres">
      <dgm:prSet presAssocID="{ADED0C4F-A99E-DC4D-A694-7F3BE352FD39}" presName="topConnNode1" presStyleLbl="node1" presStyleIdx="0" presStyleCnt="0"/>
      <dgm:spPr/>
    </dgm:pt>
    <dgm:pt modelId="{9C1E3B96-BF6B-404B-BB50-E9529B309EFE}" type="pres">
      <dgm:prSet presAssocID="{ADED0C4F-A99E-DC4D-A694-7F3BE352FD39}" presName="hierChild2" presStyleCnt="0"/>
      <dgm:spPr/>
    </dgm:pt>
    <dgm:pt modelId="{EB843774-FDCB-2946-96AB-15220EA78FD1}" type="pres">
      <dgm:prSet presAssocID="{BD8D423D-21CC-EB4A-92A3-3A68AB04B289}" presName="Name28" presStyleLbl="parChTrans1D2" presStyleIdx="0" presStyleCnt="3"/>
      <dgm:spPr/>
    </dgm:pt>
    <dgm:pt modelId="{EAF65641-04D6-8D42-B145-DB6E119CA2F2}" type="pres">
      <dgm:prSet presAssocID="{879EDF08-8E81-804E-94F5-8B590898D68B}" presName="hierRoot2" presStyleCnt="0">
        <dgm:presLayoutVars>
          <dgm:hierBranch val="init"/>
        </dgm:presLayoutVars>
      </dgm:prSet>
      <dgm:spPr/>
    </dgm:pt>
    <dgm:pt modelId="{F934BDFB-60A6-1949-9E01-0C3F5038872B}" type="pres">
      <dgm:prSet presAssocID="{879EDF08-8E81-804E-94F5-8B590898D68B}" presName="rootComposite2" presStyleCnt="0"/>
      <dgm:spPr/>
    </dgm:pt>
    <dgm:pt modelId="{8D16E638-AC87-DF41-9374-C477BEF9E449}" type="pres">
      <dgm:prSet presAssocID="{879EDF08-8E81-804E-94F5-8B590898D68B}" presName="rootText2" presStyleLbl="alignAcc1" presStyleIdx="0" presStyleCnt="0">
        <dgm:presLayoutVars>
          <dgm:chPref val="3"/>
        </dgm:presLayoutVars>
      </dgm:prSet>
      <dgm:spPr/>
    </dgm:pt>
    <dgm:pt modelId="{459AA35C-F8DB-DE40-8F61-ECC896A5A8BA}" type="pres">
      <dgm:prSet presAssocID="{879EDF08-8E81-804E-94F5-8B590898D68B}" presName="topArc2" presStyleLbl="parChTrans1D1" presStyleIdx="2" presStyleCnt="8"/>
      <dgm:spPr/>
    </dgm:pt>
    <dgm:pt modelId="{16078DC3-56D2-0F47-84FA-C9D72E1E13AD}" type="pres">
      <dgm:prSet presAssocID="{879EDF08-8E81-804E-94F5-8B590898D68B}" presName="bottomArc2" presStyleLbl="parChTrans1D1" presStyleIdx="3" presStyleCnt="8"/>
      <dgm:spPr/>
    </dgm:pt>
    <dgm:pt modelId="{C16BFDC8-E4ED-E645-9735-98F15077A545}" type="pres">
      <dgm:prSet presAssocID="{879EDF08-8E81-804E-94F5-8B590898D68B}" presName="topConnNode2" presStyleLbl="node2" presStyleIdx="0" presStyleCnt="0"/>
      <dgm:spPr/>
    </dgm:pt>
    <dgm:pt modelId="{A0BA496F-2DC7-1749-BA11-DD2C98AC392F}" type="pres">
      <dgm:prSet presAssocID="{879EDF08-8E81-804E-94F5-8B590898D68B}" presName="hierChild4" presStyleCnt="0"/>
      <dgm:spPr/>
    </dgm:pt>
    <dgm:pt modelId="{250851B8-4A0D-CC45-BF91-8D1F66297B8D}" type="pres">
      <dgm:prSet presAssocID="{879EDF08-8E81-804E-94F5-8B590898D68B}" presName="hierChild5" presStyleCnt="0"/>
      <dgm:spPr/>
    </dgm:pt>
    <dgm:pt modelId="{2950FAE4-CB21-1E40-BE6E-340630333E10}" type="pres">
      <dgm:prSet presAssocID="{DC5AC2EB-8ADE-0440-9A3F-EF3110A680EF}" presName="Name28" presStyleLbl="parChTrans1D2" presStyleIdx="1" presStyleCnt="3"/>
      <dgm:spPr/>
    </dgm:pt>
    <dgm:pt modelId="{C53B372B-9454-E14D-8710-23C618B6FBDD}" type="pres">
      <dgm:prSet presAssocID="{D470254E-8E9C-7144-9383-AC9416FE90A5}" presName="hierRoot2" presStyleCnt="0">
        <dgm:presLayoutVars>
          <dgm:hierBranch val="init"/>
        </dgm:presLayoutVars>
      </dgm:prSet>
      <dgm:spPr/>
    </dgm:pt>
    <dgm:pt modelId="{D0C419CC-4947-1A44-9B71-1A6546D214BA}" type="pres">
      <dgm:prSet presAssocID="{D470254E-8E9C-7144-9383-AC9416FE90A5}" presName="rootComposite2" presStyleCnt="0"/>
      <dgm:spPr/>
    </dgm:pt>
    <dgm:pt modelId="{256C9925-E19C-754D-9676-D6B4DC28CA6A}" type="pres">
      <dgm:prSet presAssocID="{D470254E-8E9C-7144-9383-AC9416FE90A5}" presName="rootText2" presStyleLbl="alignAcc1" presStyleIdx="0" presStyleCnt="0">
        <dgm:presLayoutVars>
          <dgm:chPref val="3"/>
        </dgm:presLayoutVars>
      </dgm:prSet>
      <dgm:spPr/>
    </dgm:pt>
    <dgm:pt modelId="{A8C53D27-4CBC-A849-B13D-EDBC469B0E92}" type="pres">
      <dgm:prSet presAssocID="{D470254E-8E9C-7144-9383-AC9416FE90A5}" presName="topArc2" presStyleLbl="parChTrans1D1" presStyleIdx="4" presStyleCnt="8"/>
      <dgm:spPr/>
    </dgm:pt>
    <dgm:pt modelId="{AEE5DA17-31DD-EA4E-9B8E-B09AEBF1725F}" type="pres">
      <dgm:prSet presAssocID="{D470254E-8E9C-7144-9383-AC9416FE90A5}" presName="bottomArc2" presStyleLbl="parChTrans1D1" presStyleIdx="5" presStyleCnt="8"/>
      <dgm:spPr/>
    </dgm:pt>
    <dgm:pt modelId="{D0A64E53-3EA5-6748-AEFD-EFB5D6C64C9E}" type="pres">
      <dgm:prSet presAssocID="{D470254E-8E9C-7144-9383-AC9416FE90A5}" presName="topConnNode2" presStyleLbl="node2" presStyleIdx="0" presStyleCnt="0"/>
      <dgm:spPr/>
    </dgm:pt>
    <dgm:pt modelId="{D9C5A401-7EFF-F349-A179-F148D7C72E89}" type="pres">
      <dgm:prSet presAssocID="{D470254E-8E9C-7144-9383-AC9416FE90A5}" presName="hierChild4" presStyleCnt="0"/>
      <dgm:spPr/>
    </dgm:pt>
    <dgm:pt modelId="{F72579D4-D4F2-B24F-B9D7-B3B78FBFDDCB}" type="pres">
      <dgm:prSet presAssocID="{D470254E-8E9C-7144-9383-AC9416FE90A5}" presName="hierChild5" presStyleCnt="0"/>
      <dgm:spPr/>
    </dgm:pt>
    <dgm:pt modelId="{FAC34A37-E8F3-2E4D-9766-9535B263A243}" type="pres">
      <dgm:prSet presAssocID="{AC671BF3-7BFA-0846-A091-534127273E51}" presName="Name28" presStyleLbl="parChTrans1D2" presStyleIdx="2" presStyleCnt="3"/>
      <dgm:spPr/>
    </dgm:pt>
    <dgm:pt modelId="{F0F0A01D-41A6-2D48-B90B-D682AE26C6CC}" type="pres">
      <dgm:prSet presAssocID="{D93A3483-9A5C-B24A-B2C0-217F4921534D}" presName="hierRoot2" presStyleCnt="0">
        <dgm:presLayoutVars>
          <dgm:hierBranch val="init"/>
        </dgm:presLayoutVars>
      </dgm:prSet>
      <dgm:spPr/>
    </dgm:pt>
    <dgm:pt modelId="{8C7055BE-644C-274A-B587-16315AE09416}" type="pres">
      <dgm:prSet presAssocID="{D93A3483-9A5C-B24A-B2C0-217F4921534D}" presName="rootComposite2" presStyleCnt="0"/>
      <dgm:spPr/>
    </dgm:pt>
    <dgm:pt modelId="{88C95EBE-0DEC-A948-8631-C2EED014ECA3}" type="pres">
      <dgm:prSet presAssocID="{D93A3483-9A5C-B24A-B2C0-217F4921534D}" presName="rootText2" presStyleLbl="alignAcc1" presStyleIdx="0" presStyleCnt="0">
        <dgm:presLayoutVars>
          <dgm:chPref val="3"/>
        </dgm:presLayoutVars>
      </dgm:prSet>
      <dgm:spPr/>
    </dgm:pt>
    <dgm:pt modelId="{A29C0DED-DC36-6B4D-82CB-47FAB0CD4146}" type="pres">
      <dgm:prSet presAssocID="{D93A3483-9A5C-B24A-B2C0-217F4921534D}" presName="topArc2" presStyleLbl="parChTrans1D1" presStyleIdx="6" presStyleCnt="8"/>
      <dgm:spPr/>
    </dgm:pt>
    <dgm:pt modelId="{90575C97-5C27-0E45-9C12-4FCC9EFBB597}" type="pres">
      <dgm:prSet presAssocID="{D93A3483-9A5C-B24A-B2C0-217F4921534D}" presName="bottomArc2" presStyleLbl="parChTrans1D1" presStyleIdx="7" presStyleCnt="8"/>
      <dgm:spPr/>
    </dgm:pt>
    <dgm:pt modelId="{18C80EA0-0221-0343-B161-98D065D7DD23}" type="pres">
      <dgm:prSet presAssocID="{D93A3483-9A5C-B24A-B2C0-217F4921534D}" presName="topConnNode2" presStyleLbl="node2" presStyleIdx="0" presStyleCnt="0"/>
      <dgm:spPr/>
    </dgm:pt>
    <dgm:pt modelId="{3B96900C-0CCB-B448-8096-DAE3D9F0E5D0}" type="pres">
      <dgm:prSet presAssocID="{D93A3483-9A5C-B24A-B2C0-217F4921534D}" presName="hierChild4" presStyleCnt="0"/>
      <dgm:spPr/>
    </dgm:pt>
    <dgm:pt modelId="{F2CFB121-8F0F-144A-ABFB-E5167A167E74}" type="pres">
      <dgm:prSet presAssocID="{D93A3483-9A5C-B24A-B2C0-217F4921534D}" presName="hierChild5" presStyleCnt="0"/>
      <dgm:spPr/>
    </dgm:pt>
    <dgm:pt modelId="{BCDC8A7A-E03A-2140-852B-09F0C7693ED2}" type="pres">
      <dgm:prSet presAssocID="{ADED0C4F-A99E-DC4D-A694-7F3BE352FD39}" presName="hierChild3" presStyleCnt="0"/>
      <dgm:spPr/>
    </dgm:pt>
  </dgm:ptLst>
  <dgm:cxnLst>
    <dgm:cxn modelId="{D13F5417-8776-EF40-B3DA-A9365BEABEDC}" srcId="{ADED0C4F-A99E-DC4D-A694-7F3BE352FD39}" destId="{D470254E-8E9C-7144-9383-AC9416FE90A5}" srcOrd="1" destOrd="0" parTransId="{DC5AC2EB-8ADE-0440-9A3F-EF3110A680EF}" sibTransId="{57BC46B0-35EE-634A-A5AD-0FB636C49927}"/>
    <dgm:cxn modelId="{10D79B20-DC3F-584C-891D-A6424FFED1DD}" type="presOf" srcId="{D93A3483-9A5C-B24A-B2C0-217F4921534D}" destId="{88C95EBE-0DEC-A948-8631-C2EED014ECA3}" srcOrd="0" destOrd="0" presId="urn:microsoft.com/office/officeart/2008/layout/HalfCircleOrganizationChart"/>
    <dgm:cxn modelId="{E9AB1F23-952C-2C42-9283-4432F9DEA983}" type="presOf" srcId="{D470254E-8E9C-7144-9383-AC9416FE90A5}" destId="{D0A64E53-3EA5-6748-AEFD-EFB5D6C64C9E}" srcOrd="1" destOrd="0" presId="urn:microsoft.com/office/officeart/2008/layout/HalfCircleOrganizationChart"/>
    <dgm:cxn modelId="{E95DEC23-011A-5246-A045-A07DC4300DF0}" type="presOf" srcId="{DC5AC2EB-8ADE-0440-9A3F-EF3110A680EF}" destId="{2950FAE4-CB21-1E40-BE6E-340630333E10}" srcOrd="0" destOrd="0" presId="urn:microsoft.com/office/officeart/2008/layout/HalfCircleOrganizationChart"/>
    <dgm:cxn modelId="{6DBBC245-F013-DA47-B305-891E6037814B}" type="presOf" srcId="{ADED0C4F-A99E-DC4D-A694-7F3BE352FD39}" destId="{7309CF6B-C6E9-DA42-BF13-214AAD323DAC}" srcOrd="1" destOrd="0" presId="urn:microsoft.com/office/officeart/2008/layout/HalfCircleOrganizationChart"/>
    <dgm:cxn modelId="{E2368748-29E8-A44B-8740-B5404DBC4D27}" type="presOf" srcId="{23621549-A47B-CE4D-A4BC-8FC3137FF3A8}" destId="{ECF3EF8B-A397-B641-8DDB-D7E1A71578AE}" srcOrd="0" destOrd="0" presId="urn:microsoft.com/office/officeart/2008/layout/HalfCircleOrganizationChart"/>
    <dgm:cxn modelId="{00F10E4D-9CAE-9442-8F2F-92AFF8EAF95D}" type="presOf" srcId="{D470254E-8E9C-7144-9383-AC9416FE90A5}" destId="{256C9925-E19C-754D-9676-D6B4DC28CA6A}" srcOrd="0" destOrd="0" presId="urn:microsoft.com/office/officeart/2008/layout/HalfCircleOrganizationChart"/>
    <dgm:cxn modelId="{C7972454-A9E4-DD44-B63A-7C42AD82967D}" type="presOf" srcId="{879EDF08-8E81-804E-94F5-8B590898D68B}" destId="{8D16E638-AC87-DF41-9374-C477BEF9E449}" srcOrd="0" destOrd="0" presId="urn:microsoft.com/office/officeart/2008/layout/HalfCircleOrganizationChart"/>
    <dgm:cxn modelId="{66B82A57-22A4-0341-AEFA-67CB365EF31E}" type="presOf" srcId="{D93A3483-9A5C-B24A-B2C0-217F4921534D}" destId="{18C80EA0-0221-0343-B161-98D065D7DD23}" srcOrd="1" destOrd="0" presId="urn:microsoft.com/office/officeart/2008/layout/HalfCircleOrganizationChart"/>
    <dgm:cxn modelId="{138D6875-31F3-1048-A92F-1F435258E546}" type="presOf" srcId="{879EDF08-8E81-804E-94F5-8B590898D68B}" destId="{C16BFDC8-E4ED-E645-9735-98F15077A545}" srcOrd="1" destOrd="0" presId="urn:microsoft.com/office/officeart/2008/layout/HalfCircleOrganizationChart"/>
    <dgm:cxn modelId="{64613679-FBF4-D549-9840-67D46E133678}" srcId="{ADED0C4F-A99E-DC4D-A694-7F3BE352FD39}" destId="{D93A3483-9A5C-B24A-B2C0-217F4921534D}" srcOrd="2" destOrd="0" parTransId="{AC671BF3-7BFA-0846-A091-534127273E51}" sibTransId="{50D924B7-0237-8848-A979-FFC3EE9F3544}"/>
    <dgm:cxn modelId="{4443DB84-664E-BB42-9921-72D732E6B268}" type="presOf" srcId="{BD8D423D-21CC-EB4A-92A3-3A68AB04B289}" destId="{EB843774-FDCB-2946-96AB-15220EA78FD1}" srcOrd="0" destOrd="0" presId="urn:microsoft.com/office/officeart/2008/layout/HalfCircleOrganizationChart"/>
    <dgm:cxn modelId="{156494BA-1F98-2049-9648-C8DBEBEC3C43}" type="presOf" srcId="{ADED0C4F-A99E-DC4D-A694-7F3BE352FD39}" destId="{C002A4F4-0F23-C94B-9B65-CB060DD6956C}" srcOrd="0" destOrd="0" presId="urn:microsoft.com/office/officeart/2008/layout/HalfCircleOrganizationChart"/>
    <dgm:cxn modelId="{1FB8E3C6-9083-284E-BD13-B96A1864066D}" srcId="{ADED0C4F-A99E-DC4D-A694-7F3BE352FD39}" destId="{879EDF08-8E81-804E-94F5-8B590898D68B}" srcOrd="0" destOrd="0" parTransId="{BD8D423D-21CC-EB4A-92A3-3A68AB04B289}" sibTransId="{230C6EDD-794A-9440-A137-23C486C49FE7}"/>
    <dgm:cxn modelId="{39D99AE2-55AC-FB4D-904B-3CD324C6F1AD}" type="presOf" srcId="{AC671BF3-7BFA-0846-A091-534127273E51}" destId="{FAC34A37-E8F3-2E4D-9766-9535B263A243}" srcOrd="0" destOrd="0" presId="urn:microsoft.com/office/officeart/2008/layout/HalfCircleOrganizationChart"/>
    <dgm:cxn modelId="{BA7D84F5-5907-5541-91C1-7D65A458A02C}" srcId="{23621549-A47B-CE4D-A4BC-8FC3137FF3A8}" destId="{ADED0C4F-A99E-DC4D-A694-7F3BE352FD39}" srcOrd="0" destOrd="0" parTransId="{4A86F4D4-671D-7D4D-B681-5CEFA81F5AF2}" sibTransId="{D656FA9C-BD17-D844-AF8B-538ED01EC0E5}"/>
    <dgm:cxn modelId="{4F5A702B-BC48-2446-86B7-56486618C12F}" type="presParOf" srcId="{ECF3EF8B-A397-B641-8DDB-D7E1A71578AE}" destId="{3433F274-9E2F-A040-8E1B-F3AED5132C89}" srcOrd="0" destOrd="0" presId="urn:microsoft.com/office/officeart/2008/layout/HalfCircleOrganizationChart"/>
    <dgm:cxn modelId="{25919997-642C-2949-BD3B-10DD4427AC15}" type="presParOf" srcId="{3433F274-9E2F-A040-8E1B-F3AED5132C89}" destId="{D9D6D9D9-AD87-5240-A892-BA5F4D66073C}" srcOrd="0" destOrd="0" presId="urn:microsoft.com/office/officeart/2008/layout/HalfCircleOrganizationChart"/>
    <dgm:cxn modelId="{24B881FB-A1D7-7B4E-91B8-3B32A67E2C7D}" type="presParOf" srcId="{D9D6D9D9-AD87-5240-A892-BA5F4D66073C}" destId="{C002A4F4-0F23-C94B-9B65-CB060DD6956C}" srcOrd="0" destOrd="0" presId="urn:microsoft.com/office/officeart/2008/layout/HalfCircleOrganizationChart"/>
    <dgm:cxn modelId="{2F14DA95-DAE9-4B48-8BAE-EFCA08B6A516}" type="presParOf" srcId="{D9D6D9D9-AD87-5240-A892-BA5F4D66073C}" destId="{548BF0C4-5866-5249-B234-F0DE8CF1AD2E}" srcOrd="1" destOrd="0" presId="urn:microsoft.com/office/officeart/2008/layout/HalfCircleOrganizationChart"/>
    <dgm:cxn modelId="{25D10F71-CECD-FE40-B951-096A61459584}" type="presParOf" srcId="{D9D6D9D9-AD87-5240-A892-BA5F4D66073C}" destId="{EFAC71DF-74B0-EC4A-944B-DC8A81659997}" srcOrd="2" destOrd="0" presId="urn:microsoft.com/office/officeart/2008/layout/HalfCircleOrganizationChart"/>
    <dgm:cxn modelId="{98F97804-353D-734F-A22D-26077451ADF6}" type="presParOf" srcId="{D9D6D9D9-AD87-5240-A892-BA5F4D66073C}" destId="{7309CF6B-C6E9-DA42-BF13-214AAD323DAC}" srcOrd="3" destOrd="0" presId="urn:microsoft.com/office/officeart/2008/layout/HalfCircleOrganizationChart"/>
    <dgm:cxn modelId="{DD9817DB-8D8C-6F42-9277-03C979130287}" type="presParOf" srcId="{3433F274-9E2F-A040-8E1B-F3AED5132C89}" destId="{9C1E3B96-BF6B-404B-BB50-E9529B309EFE}" srcOrd="1" destOrd="0" presId="urn:microsoft.com/office/officeart/2008/layout/HalfCircleOrganizationChart"/>
    <dgm:cxn modelId="{52FA86A9-C6CD-A64B-8428-77EEC00CD14B}" type="presParOf" srcId="{9C1E3B96-BF6B-404B-BB50-E9529B309EFE}" destId="{EB843774-FDCB-2946-96AB-15220EA78FD1}" srcOrd="0" destOrd="0" presId="urn:microsoft.com/office/officeart/2008/layout/HalfCircleOrganizationChart"/>
    <dgm:cxn modelId="{6F5A5747-967F-544E-9557-9D3B8BC9EAF5}" type="presParOf" srcId="{9C1E3B96-BF6B-404B-BB50-E9529B309EFE}" destId="{EAF65641-04D6-8D42-B145-DB6E119CA2F2}" srcOrd="1" destOrd="0" presId="urn:microsoft.com/office/officeart/2008/layout/HalfCircleOrganizationChart"/>
    <dgm:cxn modelId="{814D737C-282E-2C4C-B8D5-02B89559F165}" type="presParOf" srcId="{EAF65641-04D6-8D42-B145-DB6E119CA2F2}" destId="{F934BDFB-60A6-1949-9E01-0C3F5038872B}" srcOrd="0" destOrd="0" presId="urn:microsoft.com/office/officeart/2008/layout/HalfCircleOrganizationChart"/>
    <dgm:cxn modelId="{12613E50-3A48-BC41-8232-A6D6FD58755B}" type="presParOf" srcId="{F934BDFB-60A6-1949-9E01-0C3F5038872B}" destId="{8D16E638-AC87-DF41-9374-C477BEF9E449}" srcOrd="0" destOrd="0" presId="urn:microsoft.com/office/officeart/2008/layout/HalfCircleOrganizationChart"/>
    <dgm:cxn modelId="{54942723-1A1F-3746-AA8D-398F577D3C9B}" type="presParOf" srcId="{F934BDFB-60A6-1949-9E01-0C3F5038872B}" destId="{459AA35C-F8DB-DE40-8F61-ECC896A5A8BA}" srcOrd="1" destOrd="0" presId="urn:microsoft.com/office/officeart/2008/layout/HalfCircleOrganizationChart"/>
    <dgm:cxn modelId="{440CF43B-3249-FD4A-93E4-6CED1B9B3BB0}" type="presParOf" srcId="{F934BDFB-60A6-1949-9E01-0C3F5038872B}" destId="{16078DC3-56D2-0F47-84FA-C9D72E1E13AD}" srcOrd="2" destOrd="0" presId="urn:microsoft.com/office/officeart/2008/layout/HalfCircleOrganizationChart"/>
    <dgm:cxn modelId="{79F8986F-1D83-AC4B-92C3-9FD59EE2E60B}" type="presParOf" srcId="{F934BDFB-60A6-1949-9E01-0C3F5038872B}" destId="{C16BFDC8-E4ED-E645-9735-98F15077A545}" srcOrd="3" destOrd="0" presId="urn:microsoft.com/office/officeart/2008/layout/HalfCircleOrganizationChart"/>
    <dgm:cxn modelId="{94BDB214-C84C-B94B-B3BF-50A98F239040}" type="presParOf" srcId="{EAF65641-04D6-8D42-B145-DB6E119CA2F2}" destId="{A0BA496F-2DC7-1749-BA11-DD2C98AC392F}" srcOrd="1" destOrd="0" presId="urn:microsoft.com/office/officeart/2008/layout/HalfCircleOrganizationChart"/>
    <dgm:cxn modelId="{CB08D0AB-BF0C-C54D-95A1-98C83DA16A7A}" type="presParOf" srcId="{EAF65641-04D6-8D42-B145-DB6E119CA2F2}" destId="{250851B8-4A0D-CC45-BF91-8D1F66297B8D}" srcOrd="2" destOrd="0" presId="urn:microsoft.com/office/officeart/2008/layout/HalfCircleOrganizationChart"/>
    <dgm:cxn modelId="{7D78034F-8B7B-DA44-BF77-7AE107DC0A2D}" type="presParOf" srcId="{9C1E3B96-BF6B-404B-BB50-E9529B309EFE}" destId="{2950FAE4-CB21-1E40-BE6E-340630333E10}" srcOrd="2" destOrd="0" presId="urn:microsoft.com/office/officeart/2008/layout/HalfCircleOrganizationChart"/>
    <dgm:cxn modelId="{87B38ED7-1458-AD49-B281-91023789618A}" type="presParOf" srcId="{9C1E3B96-BF6B-404B-BB50-E9529B309EFE}" destId="{C53B372B-9454-E14D-8710-23C618B6FBDD}" srcOrd="3" destOrd="0" presId="urn:microsoft.com/office/officeart/2008/layout/HalfCircleOrganizationChart"/>
    <dgm:cxn modelId="{BF8621AD-6BE0-FD45-A636-4B4BEA86E193}" type="presParOf" srcId="{C53B372B-9454-E14D-8710-23C618B6FBDD}" destId="{D0C419CC-4947-1A44-9B71-1A6546D214BA}" srcOrd="0" destOrd="0" presId="urn:microsoft.com/office/officeart/2008/layout/HalfCircleOrganizationChart"/>
    <dgm:cxn modelId="{7EA0FDC7-AEE6-3945-974C-7B050631998B}" type="presParOf" srcId="{D0C419CC-4947-1A44-9B71-1A6546D214BA}" destId="{256C9925-E19C-754D-9676-D6B4DC28CA6A}" srcOrd="0" destOrd="0" presId="urn:microsoft.com/office/officeart/2008/layout/HalfCircleOrganizationChart"/>
    <dgm:cxn modelId="{1FACAB4F-CFA4-0C4B-854D-6C6B1D6811CD}" type="presParOf" srcId="{D0C419CC-4947-1A44-9B71-1A6546D214BA}" destId="{A8C53D27-4CBC-A849-B13D-EDBC469B0E92}" srcOrd="1" destOrd="0" presId="urn:microsoft.com/office/officeart/2008/layout/HalfCircleOrganizationChart"/>
    <dgm:cxn modelId="{855054D4-98F7-2846-B14D-15EE327A3CC6}" type="presParOf" srcId="{D0C419CC-4947-1A44-9B71-1A6546D214BA}" destId="{AEE5DA17-31DD-EA4E-9B8E-B09AEBF1725F}" srcOrd="2" destOrd="0" presId="urn:microsoft.com/office/officeart/2008/layout/HalfCircleOrganizationChart"/>
    <dgm:cxn modelId="{99224E38-7B48-AC40-B6D6-38EFF63CB743}" type="presParOf" srcId="{D0C419CC-4947-1A44-9B71-1A6546D214BA}" destId="{D0A64E53-3EA5-6748-AEFD-EFB5D6C64C9E}" srcOrd="3" destOrd="0" presId="urn:microsoft.com/office/officeart/2008/layout/HalfCircleOrganizationChart"/>
    <dgm:cxn modelId="{92691C10-C5E9-BB4B-8035-706E673E3E9D}" type="presParOf" srcId="{C53B372B-9454-E14D-8710-23C618B6FBDD}" destId="{D9C5A401-7EFF-F349-A179-F148D7C72E89}" srcOrd="1" destOrd="0" presId="urn:microsoft.com/office/officeart/2008/layout/HalfCircleOrganizationChart"/>
    <dgm:cxn modelId="{E08DF08A-A9EA-B943-9436-A3DAB3F79F80}" type="presParOf" srcId="{C53B372B-9454-E14D-8710-23C618B6FBDD}" destId="{F72579D4-D4F2-B24F-B9D7-B3B78FBFDDCB}" srcOrd="2" destOrd="0" presId="urn:microsoft.com/office/officeart/2008/layout/HalfCircleOrganizationChart"/>
    <dgm:cxn modelId="{CE97313A-2852-5741-8D95-3A9C10EEC174}" type="presParOf" srcId="{9C1E3B96-BF6B-404B-BB50-E9529B309EFE}" destId="{FAC34A37-E8F3-2E4D-9766-9535B263A243}" srcOrd="4" destOrd="0" presId="urn:microsoft.com/office/officeart/2008/layout/HalfCircleOrganizationChart"/>
    <dgm:cxn modelId="{C6821450-924A-AB4C-9479-579533FCD32B}" type="presParOf" srcId="{9C1E3B96-BF6B-404B-BB50-E9529B309EFE}" destId="{F0F0A01D-41A6-2D48-B90B-D682AE26C6CC}" srcOrd="5" destOrd="0" presId="urn:microsoft.com/office/officeart/2008/layout/HalfCircleOrganizationChart"/>
    <dgm:cxn modelId="{71B7D318-6BF7-9947-9098-4DDCE677F95B}" type="presParOf" srcId="{F0F0A01D-41A6-2D48-B90B-D682AE26C6CC}" destId="{8C7055BE-644C-274A-B587-16315AE09416}" srcOrd="0" destOrd="0" presId="urn:microsoft.com/office/officeart/2008/layout/HalfCircleOrganizationChart"/>
    <dgm:cxn modelId="{8D9F056B-9FFC-6949-953B-F2A982CB7B49}" type="presParOf" srcId="{8C7055BE-644C-274A-B587-16315AE09416}" destId="{88C95EBE-0DEC-A948-8631-C2EED014ECA3}" srcOrd="0" destOrd="0" presId="urn:microsoft.com/office/officeart/2008/layout/HalfCircleOrganizationChart"/>
    <dgm:cxn modelId="{9D13926D-F492-B042-89E2-3B64751AFF73}" type="presParOf" srcId="{8C7055BE-644C-274A-B587-16315AE09416}" destId="{A29C0DED-DC36-6B4D-82CB-47FAB0CD4146}" srcOrd="1" destOrd="0" presId="urn:microsoft.com/office/officeart/2008/layout/HalfCircleOrganizationChart"/>
    <dgm:cxn modelId="{0976B541-6A96-0F40-AD67-B4CEA82755F6}" type="presParOf" srcId="{8C7055BE-644C-274A-B587-16315AE09416}" destId="{90575C97-5C27-0E45-9C12-4FCC9EFBB597}" srcOrd="2" destOrd="0" presId="urn:microsoft.com/office/officeart/2008/layout/HalfCircleOrganizationChart"/>
    <dgm:cxn modelId="{6D09B60C-4B22-A34E-87F7-A612B724700F}" type="presParOf" srcId="{8C7055BE-644C-274A-B587-16315AE09416}" destId="{18C80EA0-0221-0343-B161-98D065D7DD23}" srcOrd="3" destOrd="0" presId="urn:microsoft.com/office/officeart/2008/layout/HalfCircleOrganizationChart"/>
    <dgm:cxn modelId="{A7E6CB14-E0B4-354F-B23E-E331F4A3E447}" type="presParOf" srcId="{F0F0A01D-41A6-2D48-B90B-D682AE26C6CC}" destId="{3B96900C-0CCB-B448-8096-DAE3D9F0E5D0}" srcOrd="1" destOrd="0" presId="urn:microsoft.com/office/officeart/2008/layout/HalfCircleOrganizationChart"/>
    <dgm:cxn modelId="{A21D676E-4D81-AC4C-BCA7-21A4084444FA}" type="presParOf" srcId="{F0F0A01D-41A6-2D48-B90B-D682AE26C6CC}" destId="{F2CFB121-8F0F-144A-ABFB-E5167A167E74}" srcOrd="2" destOrd="0" presId="urn:microsoft.com/office/officeart/2008/layout/HalfCircleOrganizationChart"/>
    <dgm:cxn modelId="{8615A9C7-D4F0-8B4E-83A9-D7F31A39B61B}" type="presParOf" srcId="{3433F274-9E2F-A040-8E1B-F3AED5132C89}" destId="{BCDC8A7A-E03A-2140-852B-09F0C7693ED2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1B26B5-48D9-2E4E-9EE0-611419B30700}" type="doc">
      <dgm:prSet loTypeId="urn:microsoft.com/office/officeart/2005/8/layout/hierarchy4" loCatId="" qsTypeId="urn:microsoft.com/office/officeart/2005/8/quickstyle/simple1" qsCatId="simple" csTypeId="urn:microsoft.com/office/officeart/2005/8/colors/accent0_2" csCatId="mainScheme"/>
      <dgm:spPr/>
      <dgm:t>
        <a:bodyPr/>
        <a:lstStyle/>
        <a:p>
          <a:endParaRPr lang="en-GB"/>
        </a:p>
      </dgm:t>
    </dgm:pt>
    <dgm:pt modelId="{F2B54D6C-6B8C-C041-A62A-EF51EF71E15F}">
      <dgm:prSet/>
      <dgm:spPr/>
      <dgm:t>
        <a:bodyPr/>
        <a:lstStyle/>
        <a:p>
          <a:r>
            <a:rPr lang="en-US"/>
            <a:t>Technical Roles</a:t>
          </a:r>
          <a:endParaRPr lang="en-GB"/>
        </a:p>
      </dgm:t>
    </dgm:pt>
    <dgm:pt modelId="{ACC45CDF-993F-8C46-A79E-4174E96D5EF6}" type="parTrans" cxnId="{239892F1-C863-1B4B-ABC7-60316D6E787B}">
      <dgm:prSet/>
      <dgm:spPr/>
      <dgm:t>
        <a:bodyPr/>
        <a:lstStyle/>
        <a:p>
          <a:endParaRPr lang="en-GB"/>
        </a:p>
      </dgm:t>
    </dgm:pt>
    <dgm:pt modelId="{AB70E33F-9CBB-3E47-AA4F-931B917DE415}" type="sibTrans" cxnId="{239892F1-C863-1B4B-ABC7-60316D6E787B}">
      <dgm:prSet/>
      <dgm:spPr/>
      <dgm:t>
        <a:bodyPr/>
        <a:lstStyle/>
        <a:p>
          <a:endParaRPr lang="en-GB"/>
        </a:p>
      </dgm:t>
    </dgm:pt>
    <dgm:pt modelId="{34E0044A-18AA-D44B-807C-A0D6ACE75655}">
      <dgm:prSet/>
      <dgm:spPr/>
      <dgm:t>
        <a:bodyPr/>
        <a:lstStyle/>
        <a:p>
          <a:r>
            <a:rPr lang="en-US"/>
            <a:t>Data Scientist</a:t>
          </a:r>
          <a:endParaRPr lang="en-GB"/>
        </a:p>
      </dgm:t>
    </dgm:pt>
    <dgm:pt modelId="{6B2E16C6-0F78-974E-9BEF-9B176851DBB6}" type="parTrans" cxnId="{8BA943E3-45D6-F14F-93BD-492836048F09}">
      <dgm:prSet/>
      <dgm:spPr/>
      <dgm:t>
        <a:bodyPr/>
        <a:lstStyle/>
        <a:p>
          <a:endParaRPr lang="en-GB"/>
        </a:p>
      </dgm:t>
    </dgm:pt>
    <dgm:pt modelId="{9569F33E-FE08-1A4C-83DF-9AB3DF4076BE}" type="sibTrans" cxnId="{8BA943E3-45D6-F14F-93BD-492836048F09}">
      <dgm:prSet/>
      <dgm:spPr/>
      <dgm:t>
        <a:bodyPr/>
        <a:lstStyle/>
        <a:p>
          <a:endParaRPr lang="en-GB"/>
        </a:p>
      </dgm:t>
    </dgm:pt>
    <dgm:pt modelId="{442A3468-D24B-A442-9FAD-2C9728FBCFEB}">
      <dgm:prSet/>
      <dgm:spPr/>
      <dgm:t>
        <a:bodyPr/>
        <a:lstStyle/>
        <a:p>
          <a:r>
            <a:rPr lang="en-US"/>
            <a:t>Data Scientist Super User</a:t>
          </a:r>
          <a:endParaRPr lang="en-GB"/>
        </a:p>
      </dgm:t>
    </dgm:pt>
    <dgm:pt modelId="{6C72DF87-0C6B-F444-94A6-55DD109A02F8}" type="parTrans" cxnId="{C29C3131-2F77-634F-9D23-2AB096E651E9}">
      <dgm:prSet/>
      <dgm:spPr/>
      <dgm:t>
        <a:bodyPr/>
        <a:lstStyle/>
        <a:p>
          <a:endParaRPr lang="en-GB"/>
        </a:p>
      </dgm:t>
    </dgm:pt>
    <dgm:pt modelId="{E3A2FECE-5445-E647-8586-BA8E486E3727}" type="sibTrans" cxnId="{C29C3131-2F77-634F-9D23-2AB096E651E9}">
      <dgm:prSet/>
      <dgm:spPr/>
      <dgm:t>
        <a:bodyPr/>
        <a:lstStyle/>
        <a:p>
          <a:endParaRPr lang="en-GB"/>
        </a:p>
      </dgm:t>
    </dgm:pt>
    <dgm:pt modelId="{ED3E2B0F-03B7-B444-8656-C2850C18EFDC}">
      <dgm:prSet/>
      <dgm:spPr/>
      <dgm:t>
        <a:bodyPr/>
        <a:lstStyle/>
        <a:p>
          <a:r>
            <a:rPr lang="en-US"/>
            <a:t>Office Data Scientist </a:t>
          </a:r>
          <a:endParaRPr lang="en-GB"/>
        </a:p>
      </dgm:t>
    </dgm:pt>
    <dgm:pt modelId="{450086B7-F7DB-F945-8F88-FB2BD1E1886F}" type="parTrans" cxnId="{6B071CE6-1606-3E4F-9E04-E901ECCC5D30}">
      <dgm:prSet/>
      <dgm:spPr/>
      <dgm:t>
        <a:bodyPr/>
        <a:lstStyle/>
        <a:p>
          <a:endParaRPr lang="en-GB"/>
        </a:p>
      </dgm:t>
    </dgm:pt>
    <dgm:pt modelId="{A7E8E3B9-3DA5-1047-8387-2C24835100E1}" type="sibTrans" cxnId="{6B071CE6-1606-3E4F-9E04-E901ECCC5D30}">
      <dgm:prSet/>
      <dgm:spPr/>
      <dgm:t>
        <a:bodyPr/>
        <a:lstStyle/>
        <a:p>
          <a:endParaRPr lang="en-GB"/>
        </a:p>
      </dgm:t>
    </dgm:pt>
    <dgm:pt modelId="{F16F18DB-7864-2540-98FE-07E73B161D08}">
      <dgm:prSet/>
      <dgm:spPr/>
      <dgm:t>
        <a:bodyPr/>
        <a:lstStyle/>
        <a:p>
          <a:r>
            <a:rPr lang="en-US"/>
            <a:t>Operational Roles</a:t>
          </a:r>
          <a:endParaRPr lang="en-GB"/>
        </a:p>
      </dgm:t>
    </dgm:pt>
    <dgm:pt modelId="{CBC2FCDD-FCFE-964C-B937-65AC56A2FFC5}" type="parTrans" cxnId="{E4F31A2E-DF0C-334A-90FE-F4190C2DA6C4}">
      <dgm:prSet/>
      <dgm:spPr/>
      <dgm:t>
        <a:bodyPr/>
        <a:lstStyle/>
        <a:p>
          <a:endParaRPr lang="en-GB"/>
        </a:p>
      </dgm:t>
    </dgm:pt>
    <dgm:pt modelId="{4CC24E31-7615-5E41-ADFC-4EB78B49C784}" type="sibTrans" cxnId="{E4F31A2E-DF0C-334A-90FE-F4190C2DA6C4}">
      <dgm:prSet/>
      <dgm:spPr/>
      <dgm:t>
        <a:bodyPr/>
        <a:lstStyle/>
        <a:p>
          <a:endParaRPr lang="en-GB"/>
        </a:p>
      </dgm:t>
    </dgm:pt>
    <dgm:pt modelId="{73ECDB9C-5CCE-AF4E-B3E2-2CB7740D0FED}">
      <dgm:prSet/>
      <dgm:spPr/>
      <dgm:t>
        <a:bodyPr/>
        <a:lstStyle/>
        <a:p>
          <a:r>
            <a:rPr lang="en-US"/>
            <a:t>IT Admin</a:t>
          </a:r>
          <a:endParaRPr lang="en-GB"/>
        </a:p>
      </dgm:t>
    </dgm:pt>
    <dgm:pt modelId="{6B723D11-2AF9-F347-83FF-42AF7373BA1B}" type="parTrans" cxnId="{94206E1A-337B-6A45-AEDD-F49F3FDC0526}">
      <dgm:prSet/>
      <dgm:spPr/>
      <dgm:t>
        <a:bodyPr/>
        <a:lstStyle/>
        <a:p>
          <a:endParaRPr lang="en-GB"/>
        </a:p>
      </dgm:t>
    </dgm:pt>
    <dgm:pt modelId="{CE90E6BF-7BF2-974A-AF81-7E6F097A22AF}" type="sibTrans" cxnId="{94206E1A-337B-6A45-AEDD-F49F3FDC0526}">
      <dgm:prSet/>
      <dgm:spPr/>
      <dgm:t>
        <a:bodyPr/>
        <a:lstStyle/>
        <a:p>
          <a:endParaRPr lang="en-GB"/>
        </a:p>
      </dgm:t>
    </dgm:pt>
    <dgm:pt modelId="{162E76CC-0E1B-704B-BEA2-E84D46A778AB}">
      <dgm:prSet/>
      <dgm:spPr/>
      <dgm:t>
        <a:bodyPr/>
        <a:lstStyle/>
        <a:p>
          <a:r>
            <a:rPr lang="en-US"/>
            <a:t>Workspace Admin</a:t>
          </a:r>
          <a:endParaRPr lang="en-GB"/>
        </a:p>
      </dgm:t>
    </dgm:pt>
    <dgm:pt modelId="{77EAA0ED-DA30-294B-866B-DCF5400091FE}" type="parTrans" cxnId="{59CB0C28-AB4E-B349-8811-788377BE7ED1}">
      <dgm:prSet/>
      <dgm:spPr/>
      <dgm:t>
        <a:bodyPr/>
        <a:lstStyle/>
        <a:p>
          <a:endParaRPr lang="en-GB"/>
        </a:p>
      </dgm:t>
    </dgm:pt>
    <dgm:pt modelId="{A36E650D-B082-994F-A6D1-27BA3B91C798}" type="sibTrans" cxnId="{59CB0C28-AB4E-B349-8811-788377BE7ED1}">
      <dgm:prSet/>
      <dgm:spPr/>
      <dgm:t>
        <a:bodyPr/>
        <a:lstStyle/>
        <a:p>
          <a:endParaRPr lang="en-GB"/>
        </a:p>
      </dgm:t>
    </dgm:pt>
    <dgm:pt modelId="{2A51045F-8950-8548-98AF-CF180944CBE9}">
      <dgm:prSet/>
      <dgm:spPr/>
      <dgm:t>
        <a:bodyPr/>
        <a:lstStyle/>
        <a:p>
          <a:r>
            <a:rPr lang="en-US"/>
            <a:t>Subscription Admin</a:t>
          </a:r>
          <a:endParaRPr lang="en-GB"/>
        </a:p>
      </dgm:t>
    </dgm:pt>
    <dgm:pt modelId="{18665C5F-1F8B-2544-A381-F7C9691184A2}" type="parTrans" cxnId="{3EDBF14C-9CF3-014E-9B80-F8F387B2E7FF}">
      <dgm:prSet/>
      <dgm:spPr/>
      <dgm:t>
        <a:bodyPr/>
        <a:lstStyle/>
        <a:p>
          <a:endParaRPr lang="en-GB"/>
        </a:p>
      </dgm:t>
    </dgm:pt>
    <dgm:pt modelId="{DE898D68-AF49-C349-A0C9-C3216CDF3B65}" type="sibTrans" cxnId="{3EDBF14C-9CF3-014E-9B80-F8F387B2E7FF}">
      <dgm:prSet/>
      <dgm:spPr/>
      <dgm:t>
        <a:bodyPr/>
        <a:lstStyle/>
        <a:p>
          <a:endParaRPr lang="en-GB"/>
        </a:p>
      </dgm:t>
    </dgm:pt>
    <dgm:pt modelId="{9BC90F8A-60AA-334D-8F64-6726FFB4A554}" type="pres">
      <dgm:prSet presAssocID="{F51B26B5-48D9-2E4E-9EE0-611419B30700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D929F7A-F16F-C841-B9FF-F82332490FC4}" type="pres">
      <dgm:prSet presAssocID="{F2B54D6C-6B8C-C041-A62A-EF51EF71E15F}" presName="vertOne" presStyleCnt="0"/>
      <dgm:spPr/>
    </dgm:pt>
    <dgm:pt modelId="{CBBB60A6-B76F-544E-90EB-D40E7B26ADDF}" type="pres">
      <dgm:prSet presAssocID="{F2B54D6C-6B8C-C041-A62A-EF51EF71E15F}" presName="txOne" presStyleLbl="node0" presStyleIdx="0" presStyleCnt="2">
        <dgm:presLayoutVars>
          <dgm:chPref val="3"/>
        </dgm:presLayoutVars>
      </dgm:prSet>
      <dgm:spPr/>
    </dgm:pt>
    <dgm:pt modelId="{2D209AE5-1ECC-434D-B8BB-B453A32BBB60}" type="pres">
      <dgm:prSet presAssocID="{F2B54D6C-6B8C-C041-A62A-EF51EF71E15F}" presName="parTransOne" presStyleCnt="0"/>
      <dgm:spPr/>
    </dgm:pt>
    <dgm:pt modelId="{1136EC3F-E314-E440-9E0D-686B26202005}" type="pres">
      <dgm:prSet presAssocID="{F2B54D6C-6B8C-C041-A62A-EF51EF71E15F}" presName="horzOne" presStyleCnt="0"/>
      <dgm:spPr/>
    </dgm:pt>
    <dgm:pt modelId="{0B27C760-C20E-5D45-8711-5E661999BD22}" type="pres">
      <dgm:prSet presAssocID="{34E0044A-18AA-D44B-807C-A0D6ACE75655}" presName="vertTwo" presStyleCnt="0"/>
      <dgm:spPr/>
    </dgm:pt>
    <dgm:pt modelId="{601DB9B1-0BD1-F74A-926A-280F86DDFC51}" type="pres">
      <dgm:prSet presAssocID="{34E0044A-18AA-D44B-807C-A0D6ACE75655}" presName="txTwo" presStyleLbl="node2" presStyleIdx="0" presStyleCnt="6">
        <dgm:presLayoutVars>
          <dgm:chPref val="3"/>
        </dgm:presLayoutVars>
      </dgm:prSet>
      <dgm:spPr/>
    </dgm:pt>
    <dgm:pt modelId="{0E12CF19-FA7E-B141-990B-2A73CC5058F5}" type="pres">
      <dgm:prSet presAssocID="{34E0044A-18AA-D44B-807C-A0D6ACE75655}" presName="horzTwo" presStyleCnt="0"/>
      <dgm:spPr/>
    </dgm:pt>
    <dgm:pt modelId="{0DE409C6-D038-C940-96DD-717FD1F19753}" type="pres">
      <dgm:prSet presAssocID="{9569F33E-FE08-1A4C-83DF-9AB3DF4076BE}" presName="sibSpaceTwo" presStyleCnt="0"/>
      <dgm:spPr/>
    </dgm:pt>
    <dgm:pt modelId="{3188F041-3066-724A-AA11-7A0DE7E70B75}" type="pres">
      <dgm:prSet presAssocID="{442A3468-D24B-A442-9FAD-2C9728FBCFEB}" presName="vertTwo" presStyleCnt="0"/>
      <dgm:spPr/>
    </dgm:pt>
    <dgm:pt modelId="{8087EA1C-F907-0448-9773-FAE97BC2AC8A}" type="pres">
      <dgm:prSet presAssocID="{442A3468-D24B-A442-9FAD-2C9728FBCFEB}" presName="txTwo" presStyleLbl="node2" presStyleIdx="1" presStyleCnt="6">
        <dgm:presLayoutVars>
          <dgm:chPref val="3"/>
        </dgm:presLayoutVars>
      </dgm:prSet>
      <dgm:spPr/>
    </dgm:pt>
    <dgm:pt modelId="{C4CBAF61-F7BC-774D-92B4-08B70A176913}" type="pres">
      <dgm:prSet presAssocID="{442A3468-D24B-A442-9FAD-2C9728FBCFEB}" presName="horzTwo" presStyleCnt="0"/>
      <dgm:spPr/>
    </dgm:pt>
    <dgm:pt modelId="{7D9E05D0-3B0A-8D47-B855-DCB310CC2D8B}" type="pres">
      <dgm:prSet presAssocID="{E3A2FECE-5445-E647-8586-BA8E486E3727}" presName="sibSpaceTwo" presStyleCnt="0"/>
      <dgm:spPr/>
    </dgm:pt>
    <dgm:pt modelId="{37E38238-1D6A-074A-8CA4-0577F23038B9}" type="pres">
      <dgm:prSet presAssocID="{ED3E2B0F-03B7-B444-8656-C2850C18EFDC}" presName="vertTwo" presStyleCnt="0"/>
      <dgm:spPr/>
    </dgm:pt>
    <dgm:pt modelId="{0F2D3222-FF28-E240-B241-686D9FD5BBF7}" type="pres">
      <dgm:prSet presAssocID="{ED3E2B0F-03B7-B444-8656-C2850C18EFDC}" presName="txTwo" presStyleLbl="node2" presStyleIdx="2" presStyleCnt="6">
        <dgm:presLayoutVars>
          <dgm:chPref val="3"/>
        </dgm:presLayoutVars>
      </dgm:prSet>
      <dgm:spPr/>
    </dgm:pt>
    <dgm:pt modelId="{7FB9AFF3-8D50-4D4E-B3F4-50C7283C2BE6}" type="pres">
      <dgm:prSet presAssocID="{ED3E2B0F-03B7-B444-8656-C2850C18EFDC}" presName="horzTwo" presStyleCnt="0"/>
      <dgm:spPr/>
    </dgm:pt>
    <dgm:pt modelId="{9A10E2FC-9861-7543-AED6-EC5AFB72BE9A}" type="pres">
      <dgm:prSet presAssocID="{AB70E33F-9CBB-3E47-AA4F-931B917DE415}" presName="sibSpaceOne" presStyleCnt="0"/>
      <dgm:spPr/>
    </dgm:pt>
    <dgm:pt modelId="{582ECB0A-4DA5-3845-BDB3-C61CA6CC3C07}" type="pres">
      <dgm:prSet presAssocID="{F16F18DB-7864-2540-98FE-07E73B161D08}" presName="vertOne" presStyleCnt="0"/>
      <dgm:spPr/>
    </dgm:pt>
    <dgm:pt modelId="{EEDBC707-50F6-574C-AEFC-C64C12047F28}" type="pres">
      <dgm:prSet presAssocID="{F16F18DB-7864-2540-98FE-07E73B161D08}" presName="txOne" presStyleLbl="node0" presStyleIdx="1" presStyleCnt="2">
        <dgm:presLayoutVars>
          <dgm:chPref val="3"/>
        </dgm:presLayoutVars>
      </dgm:prSet>
      <dgm:spPr/>
    </dgm:pt>
    <dgm:pt modelId="{B9D9036D-F0FE-B64B-984A-7C182CD0C1FB}" type="pres">
      <dgm:prSet presAssocID="{F16F18DB-7864-2540-98FE-07E73B161D08}" presName="parTransOne" presStyleCnt="0"/>
      <dgm:spPr/>
    </dgm:pt>
    <dgm:pt modelId="{DD1150CC-9446-AB47-84CB-EE4A5880F894}" type="pres">
      <dgm:prSet presAssocID="{F16F18DB-7864-2540-98FE-07E73B161D08}" presName="horzOne" presStyleCnt="0"/>
      <dgm:spPr/>
    </dgm:pt>
    <dgm:pt modelId="{27B8397D-6B6B-AF4A-A61F-EF61696D4022}" type="pres">
      <dgm:prSet presAssocID="{73ECDB9C-5CCE-AF4E-B3E2-2CB7740D0FED}" presName="vertTwo" presStyleCnt="0"/>
      <dgm:spPr/>
    </dgm:pt>
    <dgm:pt modelId="{A32C3922-AD4B-D942-8BDA-C80B4514AFAE}" type="pres">
      <dgm:prSet presAssocID="{73ECDB9C-5CCE-AF4E-B3E2-2CB7740D0FED}" presName="txTwo" presStyleLbl="node2" presStyleIdx="3" presStyleCnt="6">
        <dgm:presLayoutVars>
          <dgm:chPref val="3"/>
        </dgm:presLayoutVars>
      </dgm:prSet>
      <dgm:spPr/>
    </dgm:pt>
    <dgm:pt modelId="{65A41B15-06D1-964F-B75D-DA4F4FD7C5F6}" type="pres">
      <dgm:prSet presAssocID="{73ECDB9C-5CCE-AF4E-B3E2-2CB7740D0FED}" presName="horzTwo" presStyleCnt="0"/>
      <dgm:spPr/>
    </dgm:pt>
    <dgm:pt modelId="{55817FE7-1BF1-0940-B3DB-A72E0EE58F49}" type="pres">
      <dgm:prSet presAssocID="{CE90E6BF-7BF2-974A-AF81-7E6F097A22AF}" presName="sibSpaceTwo" presStyleCnt="0"/>
      <dgm:spPr/>
    </dgm:pt>
    <dgm:pt modelId="{8D2DB2ED-388F-ED47-ABB7-93E274721732}" type="pres">
      <dgm:prSet presAssocID="{162E76CC-0E1B-704B-BEA2-E84D46A778AB}" presName="vertTwo" presStyleCnt="0"/>
      <dgm:spPr/>
    </dgm:pt>
    <dgm:pt modelId="{0BC2D5CA-962C-2D4A-A6C3-448E14FCDA08}" type="pres">
      <dgm:prSet presAssocID="{162E76CC-0E1B-704B-BEA2-E84D46A778AB}" presName="txTwo" presStyleLbl="node2" presStyleIdx="4" presStyleCnt="6">
        <dgm:presLayoutVars>
          <dgm:chPref val="3"/>
        </dgm:presLayoutVars>
      </dgm:prSet>
      <dgm:spPr/>
    </dgm:pt>
    <dgm:pt modelId="{53E9B29C-2BB1-A14F-B05D-B95D1F84DDAB}" type="pres">
      <dgm:prSet presAssocID="{162E76CC-0E1B-704B-BEA2-E84D46A778AB}" presName="horzTwo" presStyleCnt="0"/>
      <dgm:spPr/>
    </dgm:pt>
    <dgm:pt modelId="{7CC30318-C191-604B-AA56-1A486450A04E}" type="pres">
      <dgm:prSet presAssocID="{A36E650D-B082-994F-A6D1-27BA3B91C798}" presName="sibSpaceTwo" presStyleCnt="0"/>
      <dgm:spPr/>
    </dgm:pt>
    <dgm:pt modelId="{D6EE5BC2-BFB9-9141-9D5B-4379CB97ABBD}" type="pres">
      <dgm:prSet presAssocID="{2A51045F-8950-8548-98AF-CF180944CBE9}" presName="vertTwo" presStyleCnt="0"/>
      <dgm:spPr/>
    </dgm:pt>
    <dgm:pt modelId="{B91A79D1-66CE-C84E-A17B-2911F97A2DFB}" type="pres">
      <dgm:prSet presAssocID="{2A51045F-8950-8548-98AF-CF180944CBE9}" presName="txTwo" presStyleLbl="node2" presStyleIdx="5" presStyleCnt="6">
        <dgm:presLayoutVars>
          <dgm:chPref val="3"/>
        </dgm:presLayoutVars>
      </dgm:prSet>
      <dgm:spPr/>
    </dgm:pt>
    <dgm:pt modelId="{F0A67894-8420-784A-A336-0D644B87400E}" type="pres">
      <dgm:prSet presAssocID="{2A51045F-8950-8548-98AF-CF180944CBE9}" presName="horzTwo" presStyleCnt="0"/>
      <dgm:spPr/>
    </dgm:pt>
  </dgm:ptLst>
  <dgm:cxnLst>
    <dgm:cxn modelId="{71FC0301-6307-D448-B73E-C96435829745}" type="presOf" srcId="{F2B54D6C-6B8C-C041-A62A-EF51EF71E15F}" destId="{CBBB60A6-B76F-544E-90EB-D40E7B26ADDF}" srcOrd="0" destOrd="0" presId="urn:microsoft.com/office/officeart/2005/8/layout/hierarchy4"/>
    <dgm:cxn modelId="{B5C41210-72BB-1A45-9AA3-20C8C350F844}" type="presOf" srcId="{F51B26B5-48D9-2E4E-9EE0-611419B30700}" destId="{9BC90F8A-60AA-334D-8F64-6726FFB4A554}" srcOrd="0" destOrd="0" presId="urn:microsoft.com/office/officeart/2005/8/layout/hierarchy4"/>
    <dgm:cxn modelId="{94206E1A-337B-6A45-AEDD-F49F3FDC0526}" srcId="{F16F18DB-7864-2540-98FE-07E73B161D08}" destId="{73ECDB9C-5CCE-AF4E-B3E2-2CB7740D0FED}" srcOrd="0" destOrd="0" parTransId="{6B723D11-2AF9-F347-83FF-42AF7373BA1B}" sibTransId="{CE90E6BF-7BF2-974A-AF81-7E6F097A22AF}"/>
    <dgm:cxn modelId="{1F31111C-A372-364E-9C40-D1B2F85E2AE9}" type="presOf" srcId="{162E76CC-0E1B-704B-BEA2-E84D46A778AB}" destId="{0BC2D5CA-962C-2D4A-A6C3-448E14FCDA08}" srcOrd="0" destOrd="0" presId="urn:microsoft.com/office/officeart/2005/8/layout/hierarchy4"/>
    <dgm:cxn modelId="{EA627D22-3865-134D-A129-D8FA9F5B3F6D}" type="presOf" srcId="{73ECDB9C-5CCE-AF4E-B3E2-2CB7740D0FED}" destId="{A32C3922-AD4B-D942-8BDA-C80B4514AFAE}" srcOrd="0" destOrd="0" presId="urn:microsoft.com/office/officeart/2005/8/layout/hierarchy4"/>
    <dgm:cxn modelId="{62DC8C23-81B4-2544-87C2-3A644DB8D94A}" type="presOf" srcId="{2A51045F-8950-8548-98AF-CF180944CBE9}" destId="{B91A79D1-66CE-C84E-A17B-2911F97A2DFB}" srcOrd="0" destOrd="0" presId="urn:microsoft.com/office/officeart/2005/8/layout/hierarchy4"/>
    <dgm:cxn modelId="{59CB0C28-AB4E-B349-8811-788377BE7ED1}" srcId="{F16F18DB-7864-2540-98FE-07E73B161D08}" destId="{162E76CC-0E1B-704B-BEA2-E84D46A778AB}" srcOrd="1" destOrd="0" parTransId="{77EAA0ED-DA30-294B-866B-DCF5400091FE}" sibTransId="{A36E650D-B082-994F-A6D1-27BA3B91C798}"/>
    <dgm:cxn modelId="{E4F31A2E-DF0C-334A-90FE-F4190C2DA6C4}" srcId="{F51B26B5-48D9-2E4E-9EE0-611419B30700}" destId="{F16F18DB-7864-2540-98FE-07E73B161D08}" srcOrd="1" destOrd="0" parTransId="{CBC2FCDD-FCFE-964C-B937-65AC56A2FFC5}" sibTransId="{4CC24E31-7615-5E41-ADFC-4EB78B49C784}"/>
    <dgm:cxn modelId="{C29C3131-2F77-634F-9D23-2AB096E651E9}" srcId="{F2B54D6C-6B8C-C041-A62A-EF51EF71E15F}" destId="{442A3468-D24B-A442-9FAD-2C9728FBCFEB}" srcOrd="1" destOrd="0" parTransId="{6C72DF87-0C6B-F444-94A6-55DD109A02F8}" sibTransId="{E3A2FECE-5445-E647-8586-BA8E486E3727}"/>
    <dgm:cxn modelId="{722A7F31-8118-744D-BCB4-C852525C6416}" type="presOf" srcId="{442A3468-D24B-A442-9FAD-2C9728FBCFEB}" destId="{8087EA1C-F907-0448-9773-FAE97BC2AC8A}" srcOrd="0" destOrd="0" presId="urn:microsoft.com/office/officeart/2005/8/layout/hierarchy4"/>
    <dgm:cxn modelId="{3EDBF14C-9CF3-014E-9B80-F8F387B2E7FF}" srcId="{F16F18DB-7864-2540-98FE-07E73B161D08}" destId="{2A51045F-8950-8548-98AF-CF180944CBE9}" srcOrd="2" destOrd="0" parTransId="{18665C5F-1F8B-2544-A381-F7C9691184A2}" sibTransId="{DE898D68-AF49-C349-A0C9-C3216CDF3B65}"/>
    <dgm:cxn modelId="{C88F0867-2DB5-9D43-813E-900B5DE81A14}" type="presOf" srcId="{ED3E2B0F-03B7-B444-8656-C2850C18EFDC}" destId="{0F2D3222-FF28-E240-B241-686D9FD5BBF7}" srcOrd="0" destOrd="0" presId="urn:microsoft.com/office/officeart/2005/8/layout/hierarchy4"/>
    <dgm:cxn modelId="{D2115ECB-71C7-8845-AAFB-9DDEA4699857}" type="presOf" srcId="{34E0044A-18AA-D44B-807C-A0D6ACE75655}" destId="{601DB9B1-0BD1-F74A-926A-280F86DDFC51}" srcOrd="0" destOrd="0" presId="urn:microsoft.com/office/officeart/2005/8/layout/hierarchy4"/>
    <dgm:cxn modelId="{8BA943E3-45D6-F14F-93BD-492836048F09}" srcId="{F2B54D6C-6B8C-C041-A62A-EF51EF71E15F}" destId="{34E0044A-18AA-D44B-807C-A0D6ACE75655}" srcOrd="0" destOrd="0" parTransId="{6B2E16C6-0F78-974E-9BEF-9B176851DBB6}" sibTransId="{9569F33E-FE08-1A4C-83DF-9AB3DF4076BE}"/>
    <dgm:cxn modelId="{6B071CE6-1606-3E4F-9E04-E901ECCC5D30}" srcId="{F2B54D6C-6B8C-C041-A62A-EF51EF71E15F}" destId="{ED3E2B0F-03B7-B444-8656-C2850C18EFDC}" srcOrd="2" destOrd="0" parTransId="{450086B7-F7DB-F945-8F88-FB2BD1E1886F}" sibTransId="{A7E8E3B9-3DA5-1047-8387-2C24835100E1}"/>
    <dgm:cxn modelId="{4D1689EB-5D30-B34F-BBE7-9611178AA309}" type="presOf" srcId="{F16F18DB-7864-2540-98FE-07E73B161D08}" destId="{EEDBC707-50F6-574C-AEFC-C64C12047F28}" srcOrd="0" destOrd="0" presId="urn:microsoft.com/office/officeart/2005/8/layout/hierarchy4"/>
    <dgm:cxn modelId="{239892F1-C863-1B4B-ABC7-60316D6E787B}" srcId="{F51B26B5-48D9-2E4E-9EE0-611419B30700}" destId="{F2B54D6C-6B8C-C041-A62A-EF51EF71E15F}" srcOrd="0" destOrd="0" parTransId="{ACC45CDF-993F-8C46-A79E-4174E96D5EF6}" sibTransId="{AB70E33F-9CBB-3E47-AA4F-931B917DE415}"/>
    <dgm:cxn modelId="{9461E058-447E-1A47-9E27-2B1FC136349F}" type="presParOf" srcId="{9BC90F8A-60AA-334D-8F64-6726FFB4A554}" destId="{7D929F7A-F16F-C841-B9FF-F82332490FC4}" srcOrd="0" destOrd="0" presId="urn:microsoft.com/office/officeart/2005/8/layout/hierarchy4"/>
    <dgm:cxn modelId="{4FCBEFBD-28FC-0041-8B8B-EDBFA53FE7AE}" type="presParOf" srcId="{7D929F7A-F16F-C841-B9FF-F82332490FC4}" destId="{CBBB60A6-B76F-544E-90EB-D40E7B26ADDF}" srcOrd="0" destOrd="0" presId="urn:microsoft.com/office/officeart/2005/8/layout/hierarchy4"/>
    <dgm:cxn modelId="{1EAC60A7-1722-EE4F-ACA3-5C1833DFEAB1}" type="presParOf" srcId="{7D929F7A-F16F-C841-B9FF-F82332490FC4}" destId="{2D209AE5-1ECC-434D-B8BB-B453A32BBB60}" srcOrd="1" destOrd="0" presId="urn:microsoft.com/office/officeart/2005/8/layout/hierarchy4"/>
    <dgm:cxn modelId="{0AB77726-9739-294C-AF87-EE866A79E08F}" type="presParOf" srcId="{7D929F7A-F16F-C841-B9FF-F82332490FC4}" destId="{1136EC3F-E314-E440-9E0D-686B26202005}" srcOrd="2" destOrd="0" presId="urn:microsoft.com/office/officeart/2005/8/layout/hierarchy4"/>
    <dgm:cxn modelId="{0E3C6EE7-7DB0-5D4A-8058-3CBBCBFD1447}" type="presParOf" srcId="{1136EC3F-E314-E440-9E0D-686B26202005}" destId="{0B27C760-C20E-5D45-8711-5E661999BD22}" srcOrd="0" destOrd="0" presId="urn:microsoft.com/office/officeart/2005/8/layout/hierarchy4"/>
    <dgm:cxn modelId="{EBBF4231-FD99-F840-AF07-CCD5AC7D5C70}" type="presParOf" srcId="{0B27C760-C20E-5D45-8711-5E661999BD22}" destId="{601DB9B1-0BD1-F74A-926A-280F86DDFC51}" srcOrd="0" destOrd="0" presId="urn:microsoft.com/office/officeart/2005/8/layout/hierarchy4"/>
    <dgm:cxn modelId="{11768362-13AF-1F44-A5D0-7189C4ECF548}" type="presParOf" srcId="{0B27C760-C20E-5D45-8711-5E661999BD22}" destId="{0E12CF19-FA7E-B141-990B-2A73CC5058F5}" srcOrd="1" destOrd="0" presId="urn:microsoft.com/office/officeart/2005/8/layout/hierarchy4"/>
    <dgm:cxn modelId="{82A4D931-6156-A54D-9466-E1D750D0811B}" type="presParOf" srcId="{1136EC3F-E314-E440-9E0D-686B26202005}" destId="{0DE409C6-D038-C940-96DD-717FD1F19753}" srcOrd="1" destOrd="0" presId="urn:microsoft.com/office/officeart/2005/8/layout/hierarchy4"/>
    <dgm:cxn modelId="{AF94EF23-9357-5E48-9B91-51006B62A0B7}" type="presParOf" srcId="{1136EC3F-E314-E440-9E0D-686B26202005}" destId="{3188F041-3066-724A-AA11-7A0DE7E70B75}" srcOrd="2" destOrd="0" presId="urn:microsoft.com/office/officeart/2005/8/layout/hierarchy4"/>
    <dgm:cxn modelId="{96E8E09E-CE92-F241-91F0-C50DE378468E}" type="presParOf" srcId="{3188F041-3066-724A-AA11-7A0DE7E70B75}" destId="{8087EA1C-F907-0448-9773-FAE97BC2AC8A}" srcOrd="0" destOrd="0" presId="urn:microsoft.com/office/officeart/2005/8/layout/hierarchy4"/>
    <dgm:cxn modelId="{31A006B8-2A8E-2E42-99EE-F45EDF0EDFFD}" type="presParOf" srcId="{3188F041-3066-724A-AA11-7A0DE7E70B75}" destId="{C4CBAF61-F7BC-774D-92B4-08B70A176913}" srcOrd="1" destOrd="0" presId="urn:microsoft.com/office/officeart/2005/8/layout/hierarchy4"/>
    <dgm:cxn modelId="{DED45D5C-8C6D-0F4D-A69D-9EC01F9DDC6D}" type="presParOf" srcId="{1136EC3F-E314-E440-9E0D-686B26202005}" destId="{7D9E05D0-3B0A-8D47-B855-DCB310CC2D8B}" srcOrd="3" destOrd="0" presId="urn:microsoft.com/office/officeart/2005/8/layout/hierarchy4"/>
    <dgm:cxn modelId="{5BD7819E-B842-1C4D-A9B8-48C61E8502CC}" type="presParOf" srcId="{1136EC3F-E314-E440-9E0D-686B26202005}" destId="{37E38238-1D6A-074A-8CA4-0577F23038B9}" srcOrd="4" destOrd="0" presId="urn:microsoft.com/office/officeart/2005/8/layout/hierarchy4"/>
    <dgm:cxn modelId="{7F38FCC1-2DE7-E148-8277-DA906C2BE2CE}" type="presParOf" srcId="{37E38238-1D6A-074A-8CA4-0577F23038B9}" destId="{0F2D3222-FF28-E240-B241-686D9FD5BBF7}" srcOrd="0" destOrd="0" presId="urn:microsoft.com/office/officeart/2005/8/layout/hierarchy4"/>
    <dgm:cxn modelId="{FADB3094-2D9B-1D4C-ABFA-C2E80E05179E}" type="presParOf" srcId="{37E38238-1D6A-074A-8CA4-0577F23038B9}" destId="{7FB9AFF3-8D50-4D4E-B3F4-50C7283C2BE6}" srcOrd="1" destOrd="0" presId="urn:microsoft.com/office/officeart/2005/8/layout/hierarchy4"/>
    <dgm:cxn modelId="{569C93C2-10D9-6E47-82E8-E5355A1C0EE6}" type="presParOf" srcId="{9BC90F8A-60AA-334D-8F64-6726FFB4A554}" destId="{9A10E2FC-9861-7543-AED6-EC5AFB72BE9A}" srcOrd="1" destOrd="0" presId="urn:microsoft.com/office/officeart/2005/8/layout/hierarchy4"/>
    <dgm:cxn modelId="{71440268-29D4-0B48-AC5D-8CD9FF4D5167}" type="presParOf" srcId="{9BC90F8A-60AA-334D-8F64-6726FFB4A554}" destId="{582ECB0A-4DA5-3845-BDB3-C61CA6CC3C07}" srcOrd="2" destOrd="0" presId="urn:microsoft.com/office/officeart/2005/8/layout/hierarchy4"/>
    <dgm:cxn modelId="{B0489FF1-31F8-C847-A60C-D3D250C36650}" type="presParOf" srcId="{582ECB0A-4DA5-3845-BDB3-C61CA6CC3C07}" destId="{EEDBC707-50F6-574C-AEFC-C64C12047F28}" srcOrd="0" destOrd="0" presId="urn:microsoft.com/office/officeart/2005/8/layout/hierarchy4"/>
    <dgm:cxn modelId="{89F7FDA0-30D9-D94B-9280-816A286D0C84}" type="presParOf" srcId="{582ECB0A-4DA5-3845-BDB3-C61CA6CC3C07}" destId="{B9D9036D-F0FE-B64B-984A-7C182CD0C1FB}" srcOrd="1" destOrd="0" presId="urn:microsoft.com/office/officeart/2005/8/layout/hierarchy4"/>
    <dgm:cxn modelId="{0FA8309C-97E8-B843-8DD9-188E888793A4}" type="presParOf" srcId="{582ECB0A-4DA5-3845-BDB3-C61CA6CC3C07}" destId="{DD1150CC-9446-AB47-84CB-EE4A5880F894}" srcOrd="2" destOrd="0" presId="urn:microsoft.com/office/officeart/2005/8/layout/hierarchy4"/>
    <dgm:cxn modelId="{7ACF8B77-3A28-8C41-8FAD-361497EC7FE4}" type="presParOf" srcId="{DD1150CC-9446-AB47-84CB-EE4A5880F894}" destId="{27B8397D-6B6B-AF4A-A61F-EF61696D4022}" srcOrd="0" destOrd="0" presId="urn:microsoft.com/office/officeart/2005/8/layout/hierarchy4"/>
    <dgm:cxn modelId="{2FE2083A-2350-F34A-8660-6BAD31C309F9}" type="presParOf" srcId="{27B8397D-6B6B-AF4A-A61F-EF61696D4022}" destId="{A32C3922-AD4B-D942-8BDA-C80B4514AFAE}" srcOrd="0" destOrd="0" presId="urn:microsoft.com/office/officeart/2005/8/layout/hierarchy4"/>
    <dgm:cxn modelId="{CFAF73E0-7901-CC4E-BC3C-D5F693E405A5}" type="presParOf" srcId="{27B8397D-6B6B-AF4A-A61F-EF61696D4022}" destId="{65A41B15-06D1-964F-B75D-DA4F4FD7C5F6}" srcOrd="1" destOrd="0" presId="urn:microsoft.com/office/officeart/2005/8/layout/hierarchy4"/>
    <dgm:cxn modelId="{1F7651F6-1625-6747-8FC0-C7DB04BF1DBD}" type="presParOf" srcId="{DD1150CC-9446-AB47-84CB-EE4A5880F894}" destId="{55817FE7-1BF1-0940-B3DB-A72E0EE58F49}" srcOrd="1" destOrd="0" presId="urn:microsoft.com/office/officeart/2005/8/layout/hierarchy4"/>
    <dgm:cxn modelId="{EE598FA2-3215-3A4D-BDB5-2879647EFB68}" type="presParOf" srcId="{DD1150CC-9446-AB47-84CB-EE4A5880F894}" destId="{8D2DB2ED-388F-ED47-ABB7-93E274721732}" srcOrd="2" destOrd="0" presId="urn:microsoft.com/office/officeart/2005/8/layout/hierarchy4"/>
    <dgm:cxn modelId="{AE8589BF-8355-3F47-8568-BA1BC593C5FE}" type="presParOf" srcId="{8D2DB2ED-388F-ED47-ABB7-93E274721732}" destId="{0BC2D5CA-962C-2D4A-A6C3-448E14FCDA08}" srcOrd="0" destOrd="0" presId="urn:microsoft.com/office/officeart/2005/8/layout/hierarchy4"/>
    <dgm:cxn modelId="{031BE9FD-7753-FF4D-8DBB-1E0FE56C0A37}" type="presParOf" srcId="{8D2DB2ED-388F-ED47-ABB7-93E274721732}" destId="{53E9B29C-2BB1-A14F-B05D-B95D1F84DDAB}" srcOrd="1" destOrd="0" presId="urn:microsoft.com/office/officeart/2005/8/layout/hierarchy4"/>
    <dgm:cxn modelId="{BD92DF5E-2CC5-9D4B-8C9C-6DCB2C7DC73C}" type="presParOf" srcId="{DD1150CC-9446-AB47-84CB-EE4A5880F894}" destId="{7CC30318-C191-604B-AA56-1A486450A04E}" srcOrd="3" destOrd="0" presId="urn:microsoft.com/office/officeart/2005/8/layout/hierarchy4"/>
    <dgm:cxn modelId="{F99EFD6A-D380-2045-A4DB-13DAF9A5D5CD}" type="presParOf" srcId="{DD1150CC-9446-AB47-84CB-EE4A5880F894}" destId="{D6EE5BC2-BFB9-9141-9D5B-4379CB97ABBD}" srcOrd="4" destOrd="0" presId="urn:microsoft.com/office/officeart/2005/8/layout/hierarchy4"/>
    <dgm:cxn modelId="{B78507C6-6185-D844-BBD4-EAB9499B27C5}" type="presParOf" srcId="{D6EE5BC2-BFB9-9141-9D5B-4379CB97ABBD}" destId="{B91A79D1-66CE-C84E-A17B-2911F97A2DFB}" srcOrd="0" destOrd="0" presId="urn:microsoft.com/office/officeart/2005/8/layout/hierarchy4"/>
    <dgm:cxn modelId="{4AE11462-E0EF-0648-9AD2-2D0354F90A6D}" type="presParOf" srcId="{D6EE5BC2-BFB9-9141-9D5B-4379CB97ABBD}" destId="{F0A67894-8420-784A-A336-0D644B87400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448AD32-0AD7-4150-84D5-AF3B27A171CD}" type="doc">
      <dgm:prSet loTypeId="urn:microsoft.com/office/officeart/2018/5/layout/CenteredIconLabelDescription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02B7BB10-657C-4919-8E0E-D84515727130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E279B76C-2639-48D4-9DE4-F390CD5B13F5}" type="parTrans" cxnId="{1C6266E9-F783-42B3-8882-9F999B630E7B}">
      <dgm:prSet/>
      <dgm:spPr/>
      <dgm:t>
        <a:bodyPr/>
        <a:lstStyle/>
        <a:p>
          <a:endParaRPr lang="en-US"/>
        </a:p>
      </dgm:t>
    </dgm:pt>
    <dgm:pt modelId="{153AB615-D211-48F2-B5A1-B5BF56AB81BC}" type="sibTrans" cxnId="{1C6266E9-F783-42B3-8882-9F999B630E7B}">
      <dgm:prSet/>
      <dgm:spPr/>
      <dgm:t>
        <a:bodyPr/>
        <a:lstStyle/>
        <a:p>
          <a:endParaRPr lang="en-US"/>
        </a:p>
      </dgm:t>
    </dgm:pt>
    <dgm:pt modelId="{AB5A2BAE-87E4-4E86-9963-34D3BDC080C4}">
      <dgm:prSet/>
      <dgm:spPr/>
      <dgm:t>
        <a:bodyPr/>
        <a:lstStyle/>
        <a:p>
          <a:r>
            <a:rPr lang="en-GB"/>
            <a:t>Able to create experiment and submit runs</a:t>
          </a:r>
          <a:endParaRPr lang="en-US"/>
        </a:p>
      </dgm:t>
    </dgm:pt>
    <dgm:pt modelId="{22140AD3-0E7A-4CBC-B372-7C8F88F31315}" type="parTrans" cxnId="{AD27F97D-1E83-4D78-B593-1960FF17BBD7}">
      <dgm:prSet/>
      <dgm:spPr/>
      <dgm:t>
        <a:bodyPr/>
        <a:lstStyle/>
        <a:p>
          <a:endParaRPr lang="en-US"/>
        </a:p>
      </dgm:t>
    </dgm:pt>
    <dgm:pt modelId="{D0751613-8C35-4811-92FC-3A88A893FCE5}" type="sibTrans" cxnId="{AD27F97D-1E83-4D78-B593-1960FF17BBD7}">
      <dgm:prSet/>
      <dgm:spPr/>
      <dgm:t>
        <a:bodyPr/>
        <a:lstStyle/>
        <a:p>
          <a:endParaRPr lang="en-US"/>
        </a:p>
      </dgm:t>
    </dgm:pt>
    <dgm:pt modelId="{F64AA31A-A788-4899-91F6-3A43A1ECA528}">
      <dgm:prSet/>
      <dgm:spPr/>
      <dgm:t>
        <a:bodyPr/>
        <a:lstStyle/>
        <a:p>
          <a:r>
            <a:rPr lang="en-GB"/>
            <a:t>Able to deploy to an ACI but not to a PROD aks cluster</a:t>
          </a:r>
          <a:endParaRPr lang="en-US"/>
        </a:p>
      </dgm:t>
    </dgm:pt>
    <dgm:pt modelId="{A2CC2173-86EA-4A38-81D6-1A01B2D32B20}" type="parTrans" cxnId="{7C36556A-97B4-4433-B107-21926DA175FA}">
      <dgm:prSet/>
      <dgm:spPr/>
      <dgm:t>
        <a:bodyPr/>
        <a:lstStyle/>
        <a:p>
          <a:endParaRPr lang="en-US"/>
        </a:p>
      </dgm:t>
    </dgm:pt>
    <dgm:pt modelId="{91CB847D-B2F0-4959-BE9E-7CBBF72C4915}" type="sibTrans" cxnId="{7C36556A-97B4-4433-B107-21926DA175FA}">
      <dgm:prSet/>
      <dgm:spPr/>
      <dgm:t>
        <a:bodyPr/>
        <a:lstStyle/>
        <a:p>
          <a:endParaRPr lang="en-US"/>
        </a:p>
      </dgm:t>
    </dgm:pt>
    <dgm:pt modelId="{0B131822-B557-430B-B9AC-5837C4B6BE6A}">
      <dgm:prSet/>
      <dgm:spPr/>
      <dgm:t>
        <a:bodyPr/>
        <a:lstStyle/>
        <a:p>
          <a:r>
            <a:rPr lang="en-GB"/>
            <a:t>Able to create a draft pipeline but not publish a pipeline endpoint</a:t>
          </a:r>
          <a:endParaRPr lang="en-US"/>
        </a:p>
      </dgm:t>
    </dgm:pt>
    <dgm:pt modelId="{A4681BAE-68A2-470B-9C3F-96378EC784F7}" type="parTrans" cxnId="{1C2C4BD8-D966-43C5-BEEE-F2149C7CD476}">
      <dgm:prSet/>
      <dgm:spPr/>
      <dgm:t>
        <a:bodyPr/>
        <a:lstStyle/>
        <a:p>
          <a:endParaRPr lang="en-US"/>
        </a:p>
      </dgm:t>
    </dgm:pt>
    <dgm:pt modelId="{46B5B171-FAC8-457D-81FF-2C865BFBC95D}" type="sibTrans" cxnId="{1C2C4BD8-D966-43C5-BEEE-F2149C7CD476}">
      <dgm:prSet/>
      <dgm:spPr/>
      <dgm:t>
        <a:bodyPr/>
        <a:lstStyle/>
        <a:p>
          <a:endParaRPr lang="en-US"/>
        </a:p>
      </dgm:t>
    </dgm:pt>
    <dgm:pt modelId="{4D19CAA8-9218-4CD0-858B-4EAC6F714A04}">
      <dgm:prSet/>
      <dgm:spPr/>
      <dgm:t>
        <a:bodyPr/>
        <a:lstStyle/>
        <a:p>
          <a:r>
            <a:rPr lang="en-GB"/>
            <a:t>Able to complete a Hyperdrive or an AutoML run</a:t>
          </a:r>
          <a:endParaRPr lang="en-US"/>
        </a:p>
      </dgm:t>
    </dgm:pt>
    <dgm:pt modelId="{CDB1D900-B31A-4FF4-B642-92C9CA90392A}" type="parTrans" cxnId="{F62B770A-763E-4B12-B8B1-CF3A6BDB63FB}">
      <dgm:prSet/>
      <dgm:spPr/>
      <dgm:t>
        <a:bodyPr/>
        <a:lstStyle/>
        <a:p>
          <a:endParaRPr lang="en-US"/>
        </a:p>
      </dgm:t>
    </dgm:pt>
    <dgm:pt modelId="{4BB272CC-9FB4-4031-89AA-59CF9486DF14}" type="sibTrans" cxnId="{F62B770A-763E-4B12-B8B1-CF3A6BDB63FB}">
      <dgm:prSet/>
      <dgm:spPr/>
      <dgm:t>
        <a:bodyPr/>
        <a:lstStyle/>
        <a:p>
          <a:endParaRPr lang="en-US"/>
        </a:p>
      </dgm:t>
    </dgm:pt>
    <dgm:pt modelId="{8AD866D0-232A-4339-BD8F-5B078ECE8539}">
      <dgm:prSet/>
      <dgm:spPr/>
      <dgm:t>
        <a:bodyPr/>
        <a:lstStyle/>
        <a:p>
          <a:r>
            <a:rPr lang="en-GB"/>
            <a:t>Able to register datastores and datasets</a:t>
          </a:r>
          <a:endParaRPr lang="en-US"/>
        </a:p>
      </dgm:t>
    </dgm:pt>
    <dgm:pt modelId="{74CF05EE-07A3-4EC2-BBA8-44FA6C72AF1E}" type="parTrans" cxnId="{B1C867FD-4132-4CD4-8600-B015931338D0}">
      <dgm:prSet/>
      <dgm:spPr/>
      <dgm:t>
        <a:bodyPr/>
        <a:lstStyle/>
        <a:p>
          <a:endParaRPr lang="en-US"/>
        </a:p>
      </dgm:t>
    </dgm:pt>
    <dgm:pt modelId="{998C6CFF-4DBF-4CC3-B530-F125031ACE4A}" type="sibTrans" cxnId="{B1C867FD-4132-4CD4-8600-B015931338D0}">
      <dgm:prSet/>
      <dgm:spPr/>
      <dgm:t>
        <a:bodyPr/>
        <a:lstStyle/>
        <a:p>
          <a:endParaRPr lang="en-US"/>
        </a:p>
      </dgm:t>
    </dgm:pt>
    <dgm:pt modelId="{A0276EA3-DA62-4DED-8D21-B4FFA31CCDAE}">
      <dgm:prSet/>
      <dgm:spPr/>
      <dgm:t>
        <a:bodyPr/>
        <a:lstStyle/>
        <a:p>
          <a:r>
            <a:rPr lang="en-GB"/>
            <a:t>Can view workspace and subscription level quota allocated for that workspace</a:t>
          </a:r>
          <a:endParaRPr lang="en-US"/>
        </a:p>
      </dgm:t>
    </dgm:pt>
    <dgm:pt modelId="{B0D8EDDF-9C59-45B8-BF6C-398935B8413A}" type="parTrans" cxnId="{C5C0A021-7A2B-490D-9DE7-71732D773C98}">
      <dgm:prSet/>
      <dgm:spPr/>
      <dgm:t>
        <a:bodyPr/>
        <a:lstStyle/>
        <a:p>
          <a:endParaRPr lang="en-US"/>
        </a:p>
      </dgm:t>
    </dgm:pt>
    <dgm:pt modelId="{01D597AF-D84D-4908-B3D2-1495ED3536DC}" type="sibTrans" cxnId="{C5C0A021-7A2B-490D-9DE7-71732D773C98}">
      <dgm:prSet/>
      <dgm:spPr/>
      <dgm:t>
        <a:bodyPr/>
        <a:lstStyle/>
        <a:p>
          <a:endParaRPr lang="en-US"/>
        </a:p>
      </dgm:t>
    </dgm:pt>
    <dgm:pt modelId="{2203031D-EE03-46CF-A64C-91AC432EF683}">
      <dgm:prSet/>
      <dgm:spPr/>
      <dgm:t>
        <a:bodyPr/>
        <a:lstStyle/>
        <a:p>
          <a:r>
            <a:rPr lang="en-GB"/>
            <a:t>Can do all data plane operations within the workspace that are part of a data scientists lifecycle</a:t>
          </a:r>
          <a:endParaRPr lang="en-US"/>
        </a:p>
      </dgm:t>
    </dgm:pt>
    <dgm:pt modelId="{E246A940-B767-42EB-A99A-A2D1B1E4467B}" type="parTrans" cxnId="{4B43AA6A-7744-4D62-A9BD-E6659314F71C}">
      <dgm:prSet/>
      <dgm:spPr/>
      <dgm:t>
        <a:bodyPr/>
        <a:lstStyle/>
        <a:p>
          <a:endParaRPr lang="en-US"/>
        </a:p>
      </dgm:t>
    </dgm:pt>
    <dgm:pt modelId="{F2A87DE8-911E-427A-8AFE-0C90C9AC4A3E}" type="sibTrans" cxnId="{4B43AA6A-7744-4D62-A9BD-E6659314F71C}">
      <dgm:prSet/>
      <dgm:spPr/>
      <dgm:t>
        <a:bodyPr/>
        <a:lstStyle/>
        <a:p>
          <a:endParaRPr lang="en-US"/>
        </a:p>
      </dgm:t>
    </dgm:pt>
    <dgm:pt modelId="{BF19F8FF-D4DB-47B9-B760-2F55EECE37AD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A48CF60D-30DE-41D5-A7CF-AC0BDF2F9387}" type="parTrans" cxnId="{213C2F10-FFDC-42D1-9006-47FF21BED9C9}">
      <dgm:prSet/>
      <dgm:spPr/>
      <dgm:t>
        <a:bodyPr/>
        <a:lstStyle/>
        <a:p>
          <a:endParaRPr lang="en-US"/>
        </a:p>
      </dgm:t>
    </dgm:pt>
    <dgm:pt modelId="{18FC6F81-89FF-46AF-AE83-A3C29E5B62C3}" type="sibTrans" cxnId="{213C2F10-FFDC-42D1-9006-47FF21BED9C9}">
      <dgm:prSet/>
      <dgm:spPr/>
      <dgm:t>
        <a:bodyPr/>
        <a:lstStyle/>
        <a:p>
          <a:endParaRPr lang="en-US"/>
        </a:p>
      </dgm:t>
    </dgm:pt>
    <dgm:pt modelId="{5B228033-4D33-47A5-8511-B6F719664FBE}">
      <dgm:prSet/>
      <dgm:spPr/>
      <dgm:t>
        <a:bodyPr/>
        <a:lstStyle/>
        <a:p>
          <a:r>
            <a:rPr lang="en-GB"/>
            <a:t>Not able to create a compute instance or a training cluster</a:t>
          </a:r>
          <a:endParaRPr lang="en-US"/>
        </a:p>
      </dgm:t>
    </dgm:pt>
    <dgm:pt modelId="{C371CC3B-8989-4079-A325-98EEE0F59094}" type="parTrans" cxnId="{3E47D78B-C402-4D30-A722-F120C218E7A2}">
      <dgm:prSet/>
      <dgm:spPr/>
      <dgm:t>
        <a:bodyPr/>
        <a:lstStyle/>
        <a:p>
          <a:endParaRPr lang="en-US"/>
        </a:p>
      </dgm:t>
    </dgm:pt>
    <dgm:pt modelId="{A1B218D2-D5CC-40F3-AD42-EC16403DF6E0}" type="sibTrans" cxnId="{3E47D78B-C402-4D30-A722-F120C218E7A2}">
      <dgm:prSet/>
      <dgm:spPr/>
      <dgm:t>
        <a:bodyPr/>
        <a:lstStyle/>
        <a:p>
          <a:endParaRPr lang="en-US"/>
        </a:p>
      </dgm:t>
    </dgm:pt>
    <dgm:pt modelId="{87BE0B3C-56E1-4B34-94D6-57009DB41E88}">
      <dgm:prSet/>
      <dgm:spPr/>
      <dgm:t>
        <a:bodyPr/>
        <a:lstStyle/>
        <a:p>
          <a:r>
            <a:rPr lang="en-GB"/>
            <a:t>Not able to upgrade the workspace</a:t>
          </a:r>
          <a:endParaRPr lang="en-US"/>
        </a:p>
      </dgm:t>
    </dgm:pt>
    <dgm:pt modelId="{EF261858-F20C-454E-96A9-484E03FC07F8}" type="parTrans" cxnId="{49CC248E-8258-4AAD-AE0A-7337CC82D5D0}">
      <dgm:prSet/>
      <dgm:spPr/>
      <dgm:t>
        <a:bodyPr/>
        <a:lstStyle/>
        <a:p>
          <a:endParaRPr lang="en-US"/>
        </a:p>
      </dgm:t>
    </dgm:pt>
    <dgm:pt modelId="{68AD99D6-C3E2-44B0-BAAA-B1804C76DE62}" type="sibTrans" cxnId="{49CC248E-8258-4AAD-AE0A-7337CC82D5D0}">
      <dgm:prSet/>
      <dgm:spPr/>
      <dgm:t>
        <a:bodyPr/>
        <a:lstStyle/>
        <a:p>
          <a:endParaRPr lang="en-US"/>
        </a:p>
      </dgm:t>
    </dgm:pt>
    <dgm:pt modelId="{D17CE815-D6BC-43B3-9BAB-970F8A14AA60}">
      <dgm:prSet/>
      <dgm:spPr/>
      <dgm:t>
        <a:bodyPr/>
        <a:lstStyle/>
        <a:p>
          <a:r>
            <a:rPr lang="en-GB"/>
            <a:t>Cannot create a new workspace but can use an existing workspace created by the subscription admin</a:t>
          </a:r>
          <a:endParaRPr lang="en-US"/>
        </a:p>
      </dgm:t>
    </dgm:pt>
    <dgm:pt modelId="{EE3549D0-3BD8-475B-983F-1D0FA31A94DE}" type="parTrans" cxnId="{3CE2C525-D2ED-48F8-B5FC-E844119FD3CB}">
      <dgm:prSet/>
      <dgm:spPr/>
      <dgm:t>
        <a:bodyPr/>
        <a:lstStyle/>
        <a:p>
          <a:endParaRPr lang="en-US"/>
        </a:p>
      </dgm:t>
    </dgm:pt>
    <dgm:pt modelId="{B77F7300-D500-43D4-9A20-3440310D151A}" type="sibTrans" cxnId="{3CE2C525-D2ED-48F8-B5FC-E844119FD3CB}">
      <dgm:prSet/>
      <dgm:spPr/>
      <dgm:t>
        <a:bodyPr/>
        <a:lstStyle/>
        <a:p>
          <a:endParaRPr lang="en-US"/>
        </a:p>
      </dgm:t>
    </dgm:pt>
    <dgm:pt modelId="{4305A3FD-DC2F-4519-B13B-275E37426021}">
      <dgm:prSet/>
      <dgm:spPr/>
      <dgm:t>
        <a:bodyPr/>
        <a:lstStyle/>
        <a:p>
          <a:r>
            <a:rPr lang="en-GB" b="0" i="0"/>
            <a:t>Cannot create new roles or assign users any roles within that workspace</a:t>
          </a:r>
          <a:endParaRPr lang="en-US"/>
        </a:p>
      </dgm:t>
    </dgm:pt>
    <dgm:pt modelId="{314C6CD8-8A11-4A8F-AB51-2C34EBCC37CD}" type="parTrans" cxnId="{045E4858-E8FE-4109-9DEB-1A824ECF19C7}">
      <dgm:prSet/>
      <dgm:spPr/>
      <dgm:t>
        <a:bodyPr/>
        <a:lstStyle/>
        <a:p>
          <a:endParaRPr lang="en-US"/>
        </a:p>
      </dgm:t>
    </dgm:pt>
    <dgm:pt modelId="{735E2C5A-4CEB-4894-ACE9-CAE024F665FD}" type="sibTrans" cxnId="{045E4858-E8FE-4109-9DEB-1A824ECF19C7}">
      <dgm:prSet/>
      <dgm:spPr/>
      <dgm:t>
        <a:bodyPr/>
        <a:lstStyle/>
        <a:p>
          <a:endParaRPr lang="en-US"/>
        </a:p>
      </dgm:t>
    </dgm:pt>
    <dgm:pt modelId="{A7CE6F26-D343-4863-8D8E-EC4257201AC4}" type="pres">
      <dgm:prSet presAssocID="{F448AD32-0AD7-4150-84D5-AF3B27A171CD}" presName="root" presStyleCnt="0">
        <dgm:presLayoutVars>
          <dgm:dir/>
          <dgm:resizeHandles val="exact"/>
        </dgm:presLayoutVars>
      </dgm:prSet>
      <dgm:spPr/>
    </dgm:pt>
    <dgm:pt modelId="{7D74BE05-8F84-4498-8796-576016485659}" type="pres">
      <dgm:prSet presAssocID="{02B7BB10-657C-4919-8E0E-D84515727130}" presName="compNode" presStyleCnt="0"/>
      <dgm:spPr/>
    </dgm:pt>
    <dgm:pt modelId="{A2CE2A1A-938A-4A46-A94B-85517A617E05}" type="pres">
      <dgm:prSet presAssocID="{02B7BB10-657C-4919-8E0E-D84515727130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ick"/>
        </a:ext>
      </dgm:extLst>
    </dgm:pt>
    <dgm:pt modelId="{EB5FA39D-0B12-4739-96A4-04D9D9AD2AC5}" type="pres">
      <dgm:prSet presAssocID="{02B7BB10-657C-4919-8E0E-D84515727130}" presName="iconSpace" presStyleCnt="0"/>
      <dgm:spPr/>
    </dgm:pt>
    <dgm:pt modelId="{FCEDE4DD-609F-4310-85EF-A79BA34DC5A9}" type="pres">
      <dgm:prSet presAssocID="{02B7BB10-657C-4919-8E0E-D84515727130}" presName="parTx" presStyleLbl="revTx" presStyleIdx="0" presStyleCnt="4">
        <dgm:presLayoutVars>
          <dgm:chMax val="0"/>
          <dgm:chPref val="0"/>
        </dgm:presLayoutVars>
      </dgm:prSet>
      <dgm:spPr/>
    </dgm:pt>
    <dgm:pt modelId="{272D9898-48EA-4965-9B2C-2358239F7445}" type="pres">
      <dgm:prSet presAssocID="{02B7BB10-657C-4919-8E0E-D84515727130}" presName="txSpace" presStyleCnt="0"/>
      <dgm:spPr/>
    </dgm:pt>
    <dgm:pt modelId="{C8229AD7-03D1-43FD-A276-7ED1B2CC1B9E}" type="pres">
      <dgm:prSet presAssocID="{02B7BB10-657C-4919-8E0E-D84515727130}" presName="desTx" presStyleLbl="revTx" presStyleIdx="1" presStyleCnt="4">
        <dgm:presLayoutVars/>
      </dgm:prSet>
      <dgm:spPr/>
    </dgm:pt>
    <dgm:pt modelId="{187DE28E-4264-433A-BF7A-6D93C199B248}" type="pres">
      <dgm:prSet presAssocID="{153AB615-D211-48F2-B5A1-B5BF56AB81BC}" presName="sibTrans" presStyleCnt="0"/>
      <dgm:spPr/>
    </dgm:pt>
    <dgm:pt modelId="{2F0F5444-A812-463C-B40E-4B1D796448D6}" type="pres">
      <dgm:prSet presAssocID="{BF19F8FF-D4DB-47B9-B760-2F55EECE37AD}" presName="compNode" presStyleCnt="0"/>
      <dgm:spPr/>
    </dgm:pt>
    <dgm:pt modelId="{E21A7C59-8F5D-4587-B7E4-14DCB02BD49E}" type="pres">
      <dgm:prSet presAssocID="{BF19F8FF-D4DB-47B9-B760-2F55EECE37AD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nfluencer"/>
        </a:ext>
      </dgm:extLst>
    </dgm:pt>
    <dgm:pt modelId="{3F65D410-1F54-40C7-BB96-C7AE5D1E6104}" type="pres">
      <dgm:prSet presAssocID="{BF19F8FF-D4DB-47B9-B760-2F55EECE37AD}" presName="iconSpace" presStyleCnt="0"/>
      <dgm:spPr/>
    </dgm:pt>
    <dgm:pt modelId="{E7CD360A-0191-40FF-9780-42BC2867B91C}" type="pres">
      <dgm:prSet presAssocID="{BF19F8FF-D4DB-47B9-B760-2F55EECE37AD}" presName="parTx" presStyleLbl="revTx" presStyleIdx="2" presStyleCnt="4">
        <dgm:presLayoutVars>
          <dgm:chMax val="0"/>
          <dgm:chPref val="0"/>
        </dgm:presLayoutVars>
      </dgm:prSet>
      <dgm:spPr/>
    </dgm:pt>
    <dgm:pt modelId="{FAC0DB7B-BABF-4A0D-AADD-40F6C2DF80D2}" type="pres">
      <dgm:prSet presAssocID="{BF19F8FF-D4DB-47B9-B760-2F55EECE37AD}" presName="txSpace" presStyleCnt="0"/>
      <dgm:spPr/>
    </dgm:pt>
    <dgm:pt modelId="{0F3A299B-42CF-4B46-B76E-81522BFD2D45}" type="pres">
      <dgm:prSet presAssocID="{BF19F8FF-D4DB-47B9-B760-2F55EECE37AD}" presName="desTx" presStyleLbl="revTx" presStyleIdx="3" presStyleCnt="4">
        <dgm:presLayoutVars/>
      </dgm:prSet>
      <dgm:spPr/>
    </dgm:pt>
  </dgm:ptLst>
  <dgm:cxnLst>
    <dgm:cxn modelId="{E56F760A-EC95-4175-BBB0-113ED0E1263E}" type="presOf" srcId="{5B228033-4D33-47A5-8511-B6F719664FBE}" destId="{0F3A299B-42CF-4B46-B76E-81522BFD2D45}" srcOrd="0" destOrd="0" presId="urn:microsoft.com/office/officeart/2018/5/layout/CenteredIconLabelDescriptionList"/>
    <dgm:cxn modelId="{F62B770A-763E-4B12-B8B1-CF3A6BDB63FB}" srcId="{02B7BB10-657C-4919-8E0E-D84515727130}" destId="{4D19CAA8-9218-4CD0-858B-4EAC6F714A04}" srcOrd="3" destOrd="0" parTransId="{CDB1D900-B31A-4FF4-B642-92C9CA90392A}" sibTransId="{4BB272CC-9FB4-4031-89AA-59CF9486DF14}"/>
    <dgm:cxn modelId="{213C2F10-FFDC-42D1-9006-47FF21BED9C9}" srcId="{F448AD32-0AD7-4150-84D5-AF3B27A171CD}" destId="{BF19F8FF-D4DB-47B9-B760-2F55EECE37AD}" srcOrd="1" destOrd="0" parTransId="{A48CF60D-30DE-41D5-A7CF-AC0BDF2F9387}" sibTransId="{18FC6F81-89FF-46AF-AE83-A3C29E5B62C3}"/>
    <dgm:cxn modelId="{4AAE8D16-4678-4120-BABD-7EDE20BB6C8E}" type="presOf" srcId="{0B131822-B557-430B-B9AC-5837C4B6BE6A}" destId="{C8229AD7-03D1-43FD-A276-7ED1B2CC1B9E}" srcOrd="0" destOrd="2" presId="urn:microsoft.com/office/officeart/2018/5/layout/CenteredIconLabelDescriptionList"/>
    <dgm:cxn modelId="{76F9311B-B66B-4561-AAA8-45EADF55952B}" type="presOf" srcId="{2203031D-EE03-46CF-A64C-91AC432EF683}" destId="{C8229AD7-03D1-43FD-A276-7ED1B2CC1B9E}" srcOrd="0" destOrd="6" presId="urn:microsoft.com/office/officeart/2018/5/layout/CenteredIconLabelDescriptionList"/>
    <dgm:cxn modelId="{C5C0A021-7A2B-490D-9DE7-71732D773C98}" srcId="{02B7BB10-657C-4919-8E0E-D84515727130}" destId="{A0276EA3-DA62-4DED-8D21-B4FFA31CCDAE}" srcOrd="5" destOrd="0" parTransId="{B0D8EDDF-9C59-45B8-BF6C-398935B8413A}" sibTransId="{01D597AF-D84D-4908-B3D2-1495ED3536DC}"/>
    <dgm:cxn modelId="{3CE2C525-D2ED-48F8-B5FC-E844119FD3CB}" srcId="{BF19F8FF-D4DB-47B9-B760-2F55EECE37AD}" destId="{D17CE815-D6BC-43B3-9BAB-970F8A14AA60}" srcOrd="2" destOrd="0" parTransId="{EE3549D0-3BD8-475B-983F-1D0FA31A94DE}" sibTransId="{B77F7300-D500-43D4-9A20-3440310D151A}"/>
    <dgm:cxn modelId="{E7D9DB2E-572D-4A92-9849-1675C379F91E}" type="presOf" srcId="{4305A3FD-DC2F-4519-B13B-275E37426021}" destId="{0F3A299B-42CF-4B46-B76E-81522BFD2D45}" srcOrd="0" destOrd="3" presId="urn:microsoft.com/office/officeart/2018/5/layout/CenteredIconLabelDescriptionList"/>
    <dgm:cxn modelId="{7147C03C-B8CC-4354-BEF6-9821276CAED9}" type="presOf" srcId="{D17CE815-D6BC-43B3-9BAB-970F8A14AA60}" destId="{0F3A299B-42CF-4B46-B76E-81522BFD2D45}" srcOrd="0" destOrd="2" presId="urn:microsoft.com/office/officeart/2018/5/layout/CenteredIconLabelDescriptionList"/>
    <dgm:cxn modelId="{9EA62B41-EBA7-44AB-BC97-DC691788BE4F}" type="presOf" srcId="{8AD866D0-232A-4339-BD8F-5B078ECE8539}" destId="{C8229AD7-03D1-43FD-A276-7ED1B2CC1B9E}" srcOrd="0" destOrd="4" presId="urn:microsoft.com/office/officeart/2018/5/layout/CenteredIconLabelDescriptionList"/>
    <dgm:cxn modelId="{045E4858-E8FE-4109-9DEB-1A824ECF19C7}" srcId="{BF19F8FF-D4DB-47B9-B760-2F55EECE37AD}" destId="{4305A3FD-DC2F-4519-B13B-275E37426021}" srcOrd="3" destOrd="0" parTransId="{314C6CD8-8A11-4A8F-AB51-2C34EBCC37CD}" sibTransId="{735E2C5A-4CEB-4894-ACE9-CAE024F665FD}"/>
    <dgm:cxn modelId="{5FF1C458-3E3E-4898-A202-E22AE60B90AC}" type="presOf" srcId="{A0276EA3-DA62-4DED-8D21-B4FFA31CCDAE}" destId="{C8229AD7-03D1-43FD-A276-7ED1B2CC1B9E}" srcOrd="0" destOrd="5" presId="urn:microsoft.com/office/officeart/2018/5/layout/CenteredIconLabelDescriptionList"/>
    <dgm:cxn modelId="{FA1DC85E-CD25-40A4-90F3-91C60A54A933}" type="presOf" srcId="{AB5A2BAE-87E4-4E86-9963-34D3BDC080C4}" destId="{C8229AD7-03D1-43FD-A276-7ED1B2CC1B9E}" srcOrd="0" destOrd="0" presId="urn:microsoft.com/office/officeart/2018/5/layout/CenteredIconLabelDescriptionList"/>
    <dgm:cxn modelId="{7C36556A-97B4-4433-B107-21926DA175FA}" srcId="{02B7BB10-657C-4919-8E0E-D84515727130}" destId="{F64AA31A-A788-4899-91F6-3A43A1ECA528}" srcOrd="1" destOrd="0" parTransId="{A2CC2173-86EA-4A38-81D6-1A01B2D32B20}" sibTransId="{91CB847D-B2F0-4959-BE9E-7CBBF72C4915}"/>
    <dgm:cxn modelId="{4B43AA6A-7744-4D62-A9BD-E6659314F71C}" srcId="{02B7BB10-657C-4919-8E0E-D84515727130}" destId="{2203031D-EE03-46CF-A64C-91AC432EF683}" srcOrd="6" destOrd="0" parTransId="{E246A940-B767-42EB-A99A-A2D1B1E4467B}" sibTransId="{F2A87DE8-911E-427A-8AFE-0C90C9AC4A3E}"/>
    <dgm:cxn modelId="{D95A0772-4527-4617-B2C2-D5CAEF6CF795}" type="presOf" srcId="{BF19F8FF-D4DB-47B9-B760-2F55EECE37AD}" destId="{E7CD360A-0191-40FF-9780-42BC2867B91C}" srcOrd="0" destOrd="0" presId="urn:microsoft.com/office/officeart/2018/5/layout/CenteredIconLabelDescriptionList"/>
    <dgm:cxn modelId="{0A27CC7C-148C-4800-8C51-52D57560F2FB}" type="presOf" srcId="{F64AA31A-A788-4899-91F6-3A43A1ECA528}" destId="{C8229AD7-03D1-43FD-A276-7ED1B2CC1B9E}" srcOrd="0" destOrd="1" presId="urn:microsoft.com/office/officeart/2018/5/layout/CenteredIconLabelDescriptionList"/>
    <dgm:cxn modelId="{AD27F97D-1E83-4D78-B593-1960FF17BBD7}" srcId="{02B7BB10-657C-4919-8E0E-D84515727130}" destId="{AB5A2BAE-87E4-4E86-9963-34D3BDC080C4}" srcOrd="0" destOrd="0" parTransId="{22140AD3-0E7A-4CBC-B372-7C8F88F31315}" sibTransId="{D0751613-8C35-4811-92FC-3A88A893FCE5}"/>
    <dgm:cxn modelId="{3E47D78B-C402-4D30-A722-F120C218E7A2}" srcId="{BF19F8FF-D4DB-47B9-B760-2F55EECE37AD}" destId="{5B228033-4D33-47A5-8511-B6F719664FBE}" srcOrd="0" destOrd="0" parTransId="{C371CC3B-8989-4079-A325-98EEE0F59094}" sibTransId="{A1B218D2-D5CC-40F3-AD42-EC16403DF6E0}"/>
    <dgm:cxn modelId="{49CC248E-8258-4AAD-AE0A-7337CC82D5D0}" srcId="{BF19F8FF-D4DB-47B9-B760-2F55EECE37AD}" destId="{87BE0B3C-56E1-4B34-94D6-57009DB41E88}" srcOrd="1" destOrd="0" parTransId="{EF261858-F20C-454E-96A9-484E03FC07F8}" sibTransId="{68AD99D6-C3E2-44B0-BAAA-B1804C76DE62}"/>
    <dgm:cxn modelId="{38D5D291-DB6D-461E-B0C5-4B5D44D33274}" type="presOf" srcId="{87BE0B3C-56E1-4B34-94D6-57009DB41E88}" destId="{0F3A299B-42CF-4B46-B76E-81522BFD2D45}" srcOrd="0" destOrd="1" presId="urn:microsoft.com/office/officeart/2018/5/layout/CenteredIconLabelDescriptionList"/>
    <dgm:cxn modelId="{4449F2A9-7DA8-473E-B89C-2619566B08D6}" type="presOf" srcId="{F448AD32-0AD7-4150-84D5-AF3B27A171CD}" destId="{A7CE6F26-D343-4863-8D8E-EC4257201AC4}" srcOrd="0" destOrd="0" presId="urn:microsoft.com/office/officeart/2018/5/layout/CenteredIconLabelDescriptionList"/>
    <dgm:cxn modelId="{560E1FBF-1FC1-4F6B-898F-7933754B413E}" type="presOf" srcId="{02B7BB10-657C-4919-8E0E-D84515727130}" destId="{FCEDE4DD-609F-4310-85EF-A79BA34DC5A9}" srcOrd="0" destOrd="0" presId="urn:microsoft.com/office/officeart/2018/5/layout/CenteredIconLabelDescriptionList"/>
    <dgm:cxn modelId="{BD5D62C3-692D-4D36-8445-C13AEF91CB6E}" type="presOf" srcId="{4D19CAA8-9218-4CD0-858B-4EAC6F714A04}" destId="{C8229AD7-03D1-43FD-A276-7ED1B2CC1B9E}" srcOrd="0" destOrd="3" presId="urn:microsoft.com/office/officeart/2018/5/layout/CenteredIconLabelDescriptionList"/>
    <dgm:cxn modelId="{1C2C4BD8-D966-43C5-BEEE-F2149C7CD476}" srcId="{02B7BB10-657C-4919-8E0E-D84515727130}" destId="{0B131822-B557-430B-B9AC-5837C4B6BE6A}" srcOrd="2" destOrd="0" parTransId="{A4681BAE-68A2-470B-9C3F-96378EC784F7}" sibTransId="{46B5B171-FAC8-457D-81FF-2C865BFBC95D}"/>
    <dgm:cxn modelId="{1C6266E9-F783-42B3-8882-9F999B630E7B}" srcId="{F448AD32-0AD7-4150-84D5-AF3B27A171CD}" destId="{02B7BB10-657C-4919-8E0E-D84515727130}" srcOrd="0" destOrd="0" parTransId="{E279B76C-2639-48D4-9DE4-F390CD5B13F5}" sibTransId="{153AB615-D211-48F2-B5A1-B5BF56AB81BC}"/>
    <dgm:cxn modelId="{B1C867FD-4132-4CD4-8600-B015931338D0}" srcId="{02B7BB10-657C-4919-8E0E-D84515727130}" destId="{8AD866D0-232A-4339-BD8F-5B078ECE8539}" srcOrd="4" destOrd="0" parTransId="{74CF05EE-07A3-4EC2-BBA8-44FA6C72AF1E}" sibTransId="{998C6CFF-4DBF-4CC3-B530-F125031ACE4A}"/>
    <dgm:cxn modelId="{77CE0EB4-78F6-406E-93C1-50CFC8BAE107}" type="presParOf" srcId="{A7CE6F26-D343-4863-8D8E-EC4257201AC4}" destId="{7D74BE05-8F84-4498-8796-576016485659}" srcOrd="0" destOrd="0" presId="urn:microsoft.com/office/officeart/2018/5/layout/CenteredIconLabelDescriptionList"/>
    <dgm:cxn modelId="{55F9CF27-7773-450D-B20E-45C05968E789}" type="presParOf" srcId="{7D74BE05-8F84-4498-8796-576016485659}" destId="{A2CE2A1A-938A-4A46-A94B-85517A617E05}" srcOrd="0" destOrd="0" presId="urn:microsoft.com/office/officeart/2018/5/layout/CenteredIconLabelDescriptionList"/>
    <dgm:cxn modelId="{D1E5054E-A8F3-4DE3-8CE6-E7C07AE2EE1D}" type="presParOf" srcId="{7D74BE05-8F84-4498-8796-576016485659}" destId="{EB5FA39D-0B12-4739-96A4-04D9D9AD2AC5}" srcOrd="1" destOrd="0" presId="urn:microsoft.com/office/officeart/2018/5/layout/CenteredIconLabelDescriptionList"/>
    <dgm:cxn modelId="{A5E258EF-D360-45A1-9100-0E9CCF9CB253}" type="presParOf" srcId="{7D74BE05-8F84-4498-8796-576016485659}" destId="{FCEDE4DD-609F-4310-85EF-A79BA34DC5A9}" srcOrd="2" destOrd="0" presId="urn:microsoft.com/office/officeart/2018/5/layout/CenteredIconLabelDescriptionList"/>
    <dgm:cxn modelId="{17FF373C-E1C5-4770-94B1-8CA6AD8B80D2}" type="presParOf" srcId="{7D74BE05-8F84-4498-8796-576016485659}" destId="{272D9898-48EA-4965-9B2C-2358239F7445}" srcOrd="3" destOrd="0" presId="urn:microsoft.com/office/officeart/2018/5/layout/CenteredIconLabelDescriptionList"/>
    <dgm:cxn modelId="{80B56038-EE8C-4416-9613-0612B49FD83E}" type="presParOf" srcId="{7D74BE05-8F84-4498-8796-576016485659}" destId="{C8229AD7-03D1-43FD-A276-7ED1B2CC1B9E}" srcOrd="4" destOrd="0" presId="urn:microsoft.com/office/officeart/2018/5/layout/CenteredIconLabelDescriptionList"/>
    <dgm:cxn modelId="{AAE96109-4103-4130-BD74-4836CF399A9B}" type="presParOf" srcId="{A7CE6F26-D343-4863-8D8E-EC4257201AC4}" destId="{187DE28E-4264-433A-BF7A-6D93C199B248}" srcOrd="1" destOrd="0" presId="urn:microsoft.com/office/officeart/2018/5/layout/CenteredIconLabelDescriptionList"/>
    <dgm:cxn modelId="{382F61BA-DD4C-4032-90FE-079A900F5607}" type="presParOf" srcId="{A7CE6F26-D343-4863-8D8E-EC4257201AC4}" destId="{2F0F5444-A812-463C-B40E-4B1D796448D6}" srcOrd="2" destOrd="0" presId="urn:microsoft.com/office/officeart/2018/5/layout/CenteredIconLabelDescriptionList"/>
    <dgm:cxn modelId="{5D196C8E-108A-48AE-994F-17EA0321B3B0}" type="presParOf" srcId="{2F0F5444-A812-463C-B40E-4B1D796448D6}" destId="{E21A7C59-8F5D-4587-B7E4-14DCB02BD49E}" srcOrd="0" destOrd="0" presId="urn:microsoft.com/office/officeart/2018/5/layout/CenteredIconLabelDescriptionList"/>
    <dgm:cxn modelId="{C5FFD8D9-4057-4F69-BBDC-0CB6EB51D65C}" type="presParOf" srcId="{2F0F5444-A812-463C-B40E-4B1D796448D6}" destId="{3F65D410-1F54-40C7-BB96-C7AE5D1E6104}" srcOrd="1" destOrd="0" presId="urn:microsoft.com/office/officeart/2018/5/layout/CenteredIconLabelDescriptionList"/>
    <dgm:cxn modelId="{0188941C-D8E4-44EA-9F0B-8EE36EB0A77C}" type="presParOf" srcId="{2F0F5444-A812-463C-B40E-4B1D796448D6}" destId="{E7CD360A-0191-40FF-9780-42BC2867B91C}" srcOrd="2" destOrd="0" presId="urn:microsoft.com/office/officeart/2018/5/layout/CenteredIconLabelDescriptionList"/>
    <dgm:cxn modelId="{4CE02C68-4705-459E-8C2B-18D78DA84306}" type="presParOf" srcId="{2F0F5444-A812-463C-B40E-4B1D796448D6}" destId="{FAC0DB7B-BABF-4A0D-AADD-40F6C2DF80D2}" srcOrd="3" destOrd="0" presId="urn:microsoft.com/office/officeart/2018/5/layout/CenteredIconLabelDescriptionList"/>
    <dgm:cxn modelId="{0BD20CC3-3CDD-46BD-9904-55BD97687E5E}" type="presParOf" srcId="{2F0F5444-A812-463C-B40E-4B1D796448D6}" destId="{0F3A299B-42CF-4B46-B76E-81522BFD2D45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5A2A581-5C71-46C0-A815-D42E33940FA0}" type="doc">
      <dgm:prSet loTypeId="urn:microsoft.com/office/officeart/2018/5/layout/CenteredIconLabelDescriptionList" loCatId="icon" qsTypeId="urn:microsoft.com/office/officeart/2005/8/quickstyle/simple1" qsCatId="simple" csTypeId="urn:microsoft.com/office/officeart/2018/5/colors/Iconchunking_neutralbg_accent0_3" csCatId="mainScheme" phldr="1"/>
      <dgm:spPr/>
      <dgm:t>
        <a:bodyPr/>
        <a:lstStyle/>
        <a:p>
          <a:endParaRPr lang="en-US"/>
        </a:p>
      </dgm:t>
    </dgm:pt>
    <dgm:pt modelId="{A8F26CAB-BEC2-44FE-9538-19008A1C7F68}">
      <dgm:prSet/>
      <dgm:spPr/>
      <dgm:t>
        <a:bodyPr/>
        <a:lstStyle/>
        <a:p>
          <a:pPr>
            <a:defRPr b="1"/>
          </a:pPr>
          <a:r>
            <a:rPr lang="en-GB"/>
            <a:t>Allowed</a:t>
          </a:r>
          <a:endParaRPr lang="en-US"/>
        </a:p>
      </dgm:t>
    </dgm:pt>
    <dgm:pt modelId="{5D9A3950-A493-4CEF-AA3F-C11FEDD9A3BE}" type="parTrans" cxnId="{B827A843-9204-401F-BD85-B5A7E2FDD1D8}">
      <dgm:prSet/>
      <dgm:spPr/>
      <dgm:t>
        <a:bodyPr/>
        <a:lstStyle/>
        <a:p>
          <a:endParaRPr lang="en-US"/>
        </a:p>
      </dgm:t>
    </dgm:pt>
    <dgm:pt modelId="{7A405146-E332-4CF5-AE5D-E4865A0F31A5}" type="sibTrans" cxnId="{B827A843-9204-401F-BD85-B5A7E2FDD1D8}">
      <dgm:prSet/>
      <dgm:spPr/>
      <dgm:t>
        <a:bodyPr/>
        <a:lstStyle/>
        <a:p>
          <a:endParaRPr lang="en-US"/>
        </a:p>
      </dgm:t>
    </dgm:pt>
    <dgm:pt modelId="{37532205-1760-42A2-9201-A8B29278572E}">
      <dgm:prSet/>
      <dgm:spPr/>
      <dgm:t>
        <a:bodyPr/>
        <a:lstStyle/>
        <a:p>
          <a:r>
            <a:rPr lang="en-GB"/>
            <a:t>Able to do all operations in the workspace</a:t>
          </a:r>
          <a:endParaRPr lang="en-US"/>
        </a:p>
      </dgm:t>
    </dgm:pt>
    <dgm:pt modelId="{66AB1F43-E1D1-4EC6-B8D9-4E3A9F21F312}" type="parTrans" cxnId="{DBFBA786-EA36-42E4-93BA-7214F205F568}">
      <dgm:prSet/>
      <dgm:spPr/>
      <dgm:t>
        <a:bodyPr/>
        <a:lstStyle/>
        <a:p>
          <a:endParaRPr lang="en-US"/>
        </a:p>
      </dgm:t>
    </dgm:pt>
    <dgm:pt modelId="{F3C5430E-0859-4FCD-BA84-8F41BC5B3BCF}" type="sibTrans" cxnId="{DBFBA786-EA36-42E4-93BA-7214F205F568}">
      <dgm:prSet/>
      <dgm:spPr/>
      <dgm:t>
        <a:bodyPr/>
        <a:lstStyle/>
        <a:p>
          <a:endParaRPr lang="en-US"/>
        </a:p>
      </dgm:t>
    </dgm:pt>
    <dgm:pt modelId="{79DF8DD3-A0BF-46A4-A181-FB398A49F8BC}">
      <dgm:prSet/>
      <dgm:spPr/>
      <dgm:t>
        <a:bodyPr/>
        <a:lstStyle/>
        <a:p>
          <a:r>
            <a:rPr lang="en-GB"/>
            <a:t>Able to add new users to the workspace against a pre-created role or a custom role, but not create a new role</a:t>
          </a:r>
          <a:endParaRPr lang="en-US"/>
        </a:p>
      </dgm:t>
    </dgm:pt>
    <dgm:pt modelId="{0101AB8E-D6FE-4A7C-94D3-19A5A77589EC}" type="parTrans" cxnId="{F293EACF-36AD-4039-B705-2336E2A18E4D}">
      <dgm:prSet/>
      <dgm:spPr/>
      <dgm:t>
        <a:bodyPr/>
        <a:lstStyle/>
        <a:p>
          <a:endParaRPr lang="en-US"/>
        </a:p>
      </dgm:t>
    </dgm:pt>
    <dgm:pt modelId="{72623161-3DDD-4063-971A-7E69FC9A851C}" type="sibTrans" cxnId="{F293EACF-36AD-4039-B705-2336E2A18E4D}">
      <dgm:prSet/>
      <dgm:spPr/>
      <dgm:t>
        <a:bodyPr/>
        <a:lstStyle/>
        <a:p>
          <a:endParaRPr lang="en-US"/>
        </a:p>
      </dgm:t>
    </dgm:pt>
    <dgm:pt modelId="{64494F4D-0ACE-4081-A0F3-C6D905FD565E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F610DF86-2766-4D42-B0FD-6A4CCD5E116D}" type="parTrans" cxnId="{BF3835E0-67DA-4F0A-A46E-CD1BFF293F6A}">
      <dgm:prSet/>
      <dgm:spPr/>
      <dgm:t>
        <a:bodyPr/>
        <a:lstStyle/>
        <a:p>
          <a:endParaRPr lang="en-US"/>
        </a:p>
      </dgm:t>
    </dgm:pt>
    <dgm:pt modelId="{FADD0D55-F0DB-4999-8C24-AE3D7B8EEB50}" type="sibTrans" cxnId="{BF3835E0-67DA-4F0A-A46E-CD1BFF293F6A}">
      <dgm:prSet/>
      <dgm:spPr/>
      <dgm:t>
        <a:bodyPr/>
        <a:lstStyle/>
        <a:p>
          <a:endParaRPr lang="en-US"/>
        </a:p>
      </dgm:t>
    </dgm:pt>
    <dgm:pt modelId="{5517FD25-A6EE-4D72-9403-93FED2FBDF66}">
      <dgm:prSet/>
      <dgm:spPr/>
      <dgm:t>
        <a:bodyPr/>
        <a:lstStyle/>
        <a:p>
          <a:r>
            <a:rPr lang="en-GB"/>
            <a:t>Not able to allocate workspace level quota</a:t>
          </a:r>
          <a:endParaRPr lang="en-US"/>
        </a:p>
      </dgm:t>
    </dgm:pt>
    <dgm:pt modelId="{3F7D9B81-215A-4CE0-B5F4-A11E98F16564}" type="parTrans" cxnId="{A2BADACE-65FC-4A3C-BC91-5651BB50D3D3}">
      <dgm:prSet/>
      <dgm:spPr/>
      <dgm:t>
        <a:bodyPr/>
        <a:lstStyle/>
        <a:p>
          <a:endParaRPr lang="en-US"/>
        </a:p>
      </dgm:t>
    </dgm:pt>
    <dgm:pt modelId="{838DE67E-08D8-474E-A7BF-D0A04CD542C2}" type="sibTrans" cxnId="{A2BADACE-65FC-4A3C-BC91-5651BB50D3D3}">
      <dgm:prSet/>
      <dgm:spPr/>
      <dgm:t>
        <a:bodyPr/>
        <a:lstStyle/>
        <a:p>
          <a:endParaRPr lang="en-US"/>
        </a:p>
      </dgm:t>
    </dgm:pt>
    <dgm:pt modelId="{C613882F-085D-4877-B485-724FA2A2ADDD}">
      <dgm:prSet/>
      <dgm:spPr/>
      <dgm:t>
        <a:bodyPr/>
        <a:lstStyle/>
        <a:p>
          <a:r>
            <a:rPr lang="en-GB"/>
            <a:t>Not able to update the Edition of the workspace</a:t>
          </a:r>
          <a:endParaRPr lang="en-US"/>
        </a:p>
      </dgm:t>
    </dgm:pt>
    <dgm:pt modelId="{50B00DED-64D7-40C8-BC03-B53AE6091029}" type="parTrans" cxnId="{094F990C-9A79-408C-8A2F-418E3803A635}">
      <dgm:prSet/>
      <dgm:spPr/>
      <dgm:t>
        <a:bodyPr/>
        <a:lstStyle/>
        <a:p>
          <a:endParaRPr lang="en-US"/>
        </a:p>
      </dgm:t>
    </dgm:pt>
    <dgm:pt modelId="{89AF82B2-68DE-4E62-A509-44C9DD7BCC81}" type="sibTrans" cxnId="{094F990C-9A79-408C-8A2F-418E3803A635}">
      <dgm:prSet/>
      <dgm:spPr/>
      <dgm:t>
        <a:bodyPr/>
        <a:lstStyle/>
        <a:p>
          <a:endParaRPr lang="en-US"/>
        </a:p>
      </dgm:t>
    </dgm:pt>
    <dgm:pt modelId="{4BB66F20-640E-4B0B-AAE7-80750860DB32}" type="pres">
      <dgm:prSet presAssocID="{95A2A581-5C71-46C0-A815-D42E33940FA0}" presName="root" presStyleCnt="0">
        <dgm:presLayoutVars>
          <dgm:dir/>
          <dgm:resizeHandles val="exact"/>
        </dgm:presLayoutVars>
      </dgm:prSet>
      <dgm:spPr/>
    </dgm:pt>
    <dgm:pt modelId="{D3B23B4B-25D0-4FC4-98DD-1AABD47C798D}" type="pres">
      <dgm:prSet presAssocID="{A8F26CAB-BEC2-44FE-9538-19008A1C7F68}" presName="compNode" presStyleCnt="0"/>
      <dgm:spPr/>
    </dgm:pt>
    <dgm:pt modelId="{AE47D7CB-738C-4798-8B72-1C27C0AC57F1}" type="pres">
      <dgm:prSet presAssocID="{A8F26CAB-BEC2-44FE-9538-19008A1C7F68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pen Folder"/>
        </a:ext>
      </dgm:extLst>
    </dgm:pt>
    <dgm:pt modelId="{FC2E8CBD-94E0-40DF-9B55-FC928AE879FF}" type="pres">
      <dgm:prSet presAssocID="{A8F26CAB-BEC2-44FE-9538-19008A1C7F68}" presName="iconSpace" presStyleCnt="0"/>
      <dgm:spPr/>
    </dgm:pt>
    <dgm:pt modelId="{2649CBD5-6DC0-48CF-A9D1-9E377735F03D}" type="pres">
      <dgm:prSet presAssocID="{A8F26CAB-BEC2-44FE-9538-19008A1C7F68}" presName="parTx" presStyleLbl="revTx" presStyleIdx="0" presStyleCnt="4">
        <dgm:presLayoutVars>
          <dgm:chMax val="0"/>
          <dgm:chPref val="0"/>
        </dgm:presLayoutVars>
      </dgm:prSet>
      <dgm:spPr/>
    </dgm:pt>
    <dgm:pt modelId="{13B22426-A26D-4D5D-9A04-82F1085B7347}" type="pres">
      <dgm:prSet presAssocID="{A8F26CAB-BEC2-44FE-9538-19008A1C7F68}" presName="txSpace" presStyleCnt="0"/>
      <dgm:spPr/>
    </dgm:pt>
    <dgm:pt modelId="{B866FEDD-51E0-4525-A342-F9EE1F9A60E1}" type="pres">
      <dgm:prSet presAssocID="{A8F26CAB-BEC2-44FE-9538-19008A1C7F68}" presName="desTx" presStyleLbl="revTx" presStyleIdx="1" presStyleCnt="4">
        <dgm:presLayoutVars/>
      </dgm:prSet>
      <dgm:spPr/>
    </dgm:pt>
    <dgm:pt modelId="{0F101CFB-7423-4D6C-8400-83F59F0797FE}" type="pres">
      <dgm:prSet presAssocID="{7A405146-E332-4CF5-AE5D-E4865A0F31A5}" presName="sibTrans" presStyleCnt="0"/>
      <dgm:spPr/>
    </dgm:pt>
    <dgm:pt modelId="{0F011AFE-C7C7-4F44-9395-EA86FA972174}" type="pres">
      <dgm:prSet presAssocID="{64494F4D-0ACE-4081-A0F3-C6D905FD565E}" presName="compNode" presStyleCnt="0"/>
      <dgm:spPr/>
    </dgm:pt>
    <dgm:pt modelId="{E9821B75-6ABF-4617-8EA7-AAF280184D4A}" type="pres">
      <dgm:prSet presAssocID="{64494F4D-0ACE-4081-A0F3-C6D905FD565E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ose"/>
        </a:ext>
      </dgm:extLst>
    </dgm:pt>
    <dgm:pt modelId="{9B328708-3103-4C77-99A0-A3AA6ED43AB5}" type="pres">
      <dgm:prSet presAssocID="{64494F4D-0ACE-4081-A0F3-C6D905FD565E}" presName="iconSpace" presStyleCnt="0"/>
      <dgm:spPr/>
    </dgm:pt>
    <dgm:pt modelId="{4728DECD-D132-4792-B258-DCBC44B24989}" type="pres">
      <dgm:prSet presAssocID="{64494F4D-0ACE-4081-A0F3-C6D905FD565E}" presName="parTx" presStyleLbl="revTx" presStyleIdx="2" presStyleCnt="4">
        <dgm:presLayoutVars>
          <dgm:chMax val="0"/>
          <dgm:chPref val="0"/>
        </dgm:presLayoutVars>
      </dgm:prSet>
      <dgm:spPr/>
    </dgm:pt>
    <dgm:pt modelId="{53136ECB-A9D6-4E27-9A28-613567B53F75}" type="pres">
      <dgm:prSet presAssocID="{64494F4D-0ACE-4081-A0F3-C6D905FD565E}" presName="txSpace" presStyleCnt="0"/>
      <dgm:spPr/>
    </dgm:pt>
    <dgm:pt modelId="{B56AE5D9-A228-429A-A2B7-8369E090E87A}" type="pres">
      <dgm:prSet presAssocID="{64494F4D-0ACE-4081-A0F3-C6D905FD565E}" presName="desTx" presStyleLbl="revTx" presStyleIdx="3" presStyleCnt="4">
        <dgm:presLayoutVars/>
      </dgm:prSet>
      <dgm:spPr/>
    </dgm:pt>
  </dgm:ptLst>
  <dgm:cxnLst>
    <dgm:cxn modelId="{2B5C5800-9622-46C0-AA4B-A4FDA8A4E42D}" type="presOf" srcId="{64494F4D-0ACE-4081-A0F3-C6D905FD565E}" destId="{4728DECD-D132-4792-B258-DCBC44B24989}" srcOrd="0" destOrd="0" presId="urn:microsoft.com/office/officeart/2018/5/layout/CenteredIconLabelDescriptionList"/>
    <dgm:cxn modelId="{094F990C-9A79-408C-8A2F-418E3803A635}" srcId="{64494F4D-0ACE-4081-A0F3-C6D905FD565E}" destId="{C613882F-085D-4877-B485-724FA2A2ADDD}" srcOrd="1" destOrd="0" parTransId="{50B00DED-64D7-40C8-BC03-B53AE6091029}" sibTransId="{89AF82B2-68DE-4E62-A509-44C9DD7BCC81}"/>
    <dgm:cxn modelId="{B827A843-9204-401F-BD85-B5A7E2FDD1D8}" srcId="{95A2A581-5C71-46C0-A815-D42E33940FA0}" destId="{A8F26CAB-BEC2-44FE-9538-19008A1C7F68}" srcOrd="0" destOrd="0" parTransId="{5D9A3950-A493-4CEF-AA3F-C11FEDD9A3BE}" sibTransId="{7A405146-E332-4CF5-AE5D-E4865A0F31A5}"/>
    <dgm:cxn modelId="{F6C56762-B43F-4D36-9500-694FAFF800AE}" type="presOf" srcId="{37532205-1760-42A2-9201-A8B29278572E}" destId="{B866FEDD-51E0-4525-A342-F9EE1F9A60E1}" srcOrd="0" destOrd="0" presId="urn:microsoft.com/office/officeart/2018/5/layout/CenteredIconLabelDescriptionList"/>
    <dgm:cxn modelId="{3342CF71-F26A-4490-9B3D-98FBA5807DEE}" type="presOf" srcId="{A8F26CAB-BEC2-44FE-9538-19008A1C7F68}" destId="{2649CBD5-6DC0-48CF-A9D1-9E377735F03D}" srcOrd="0" destOrd="0" presId="urn:microsoft.com/office/officeart/2018/5/layout/CenteredIconLabelDescriptionList"/>
    <dgm:cxn modelId="{DBFBA786-EA36-42E4-93BA-7214F205F568}" srcId="{A8F26CAB-BEC2-44FE-9538-19008A1C7F68}" destId="{37532205-1760-42A2-9201-A8B29278572E}" srcOrd="0" destOrd="0" parTransId="{66AB1F43-E1D1-4EC6-B8D9-4E3A9F21F312}" sibTransId="{F3C5430E-0859-4FCD-BA84-8F41BC5B3BCF}"/>
    <dgm:cxn modelId="{E9351DA6-DBC0-4F69-AA87-2789AF56B9CE}" type="presOf" srcId="{5517FD25-A6EE-4D72-9403-93FED2FBDF66}" destId="{B56AE5D9-A228-429A-A2B7-8369E090E87A}" srcOrd="0" destOrd="0" presId="urn:microsoft.com/office/officeart/2018/5/layout/CenteredIconLabelDescriptionList"/>
    <dgm:cxn modelId="{BCB1A3B2-A300-4BBF-937E-DDE21694E082}" type="presOf" srcId="{79DF8DD3-A0BF-46A4-A181-FB398A49F8BC}" destId="{B866FEDD-51E0-4525-A342-F9EE1F9A60E1}" srcOrd="0" destOrd="1" presId="urn:microsoft.com/office/officeart/2018/5/layout/CenteredIconLabelDescriptionList"/>
    <dgm:cxn modelId="{C572F2CA-5175-47FE-B990-BAB14F6C09F0}" type="presOf" srcId="{95A2A581-5C71-46C0-A815-D42E33940FA0}" destId="{4BB66F20-640E-4B0B-AAE7-80750860DB32}" srcOrd="0" destOrd="0" presId="urn:microsoft.com/office/officeart/2018/5/layout/CenteredIconLabelDescriptionList"/>
    <dgm:cxn modelId="{A2BADACE-65FC-4A3C-BC91-5651BB50D3D3}" srcId="{64494F4D-0ACE-4081-A0F3-C6D905FD565E}" destId="{5517FD25-A6EE-4D72-9403-93FED2FBDF66}" srcOrd="0" destOrd="0" parTransId="{3F7D9B81-215A-4CE0-B5F4-A11E98F16564}" sibTransId="{838DE67E-08D8-474E-A7BF-D0A04CD542C2}"/>
    <dgm:cxn modelId="{F293EACF-36AD-4039-B705-2336E2A18E4D}" srcId="{A8F26CAB-BEC2-44FE-9538-19008A1C7F68}" destId="{79DF8DD3-A0BF-46A4-A181-FB398A49F8BC}" srcOrd="1" destOrd="0" parTransId="{0101AB8E-D6FE-4A7C-94D3-19A5A77589EC}" sibTransId="{72623161-3DDD-4063-971A-7E69FC9A851C}"/>
    <dgm:cxn modelId="{BF3835E0-67DA-4F0A-A46E-CD1BFF293F6A}" srcId="{95A2A581-5C71-46C0-A815-D42E33940FA0}" destId="{64494F4D-0ACE-4081-A0F3-C6D905FD565E}" srcOrd="1" destOrd="0" parTransId="{F610DF86-2766-4D42-B0FD-6A4CCD5E116D}" sibTransId="{FADD0D55-F0DB-4999-8C24-AE3D7B8EEB50}"/>
    <dgm:cxn modelId="{74232BEF-3889-4262-9447-476D516B0CA4}" type="presOf" srcId="{C613882F-085D-4877-B485-724FA2A2ADDD}" destId="{B56AE5D9-A228-429A-A2B7-8369E090E87A}" srcOrd="0" destOrd="1" presId="urn:microsoft.com/office/officeart/2018/5/layout/CenteredIconLabelDescriptionList"/>
    <dgm:cxn modelId="{0A1F0C67-5225-45F8-80E5-BDF1E5F1574D}" type="presParOf" srcId="{4BB66F20-640E-4B0B-AAE7-80750860DB32}" destId="{D3B23B4B-25D0-4FC4-98DD-1AABD47C798D}" srcOrd="0" destOrd="0" presId="urn:microsoft.com/office/officeart/2018/5/layout/CenteredIconLabelDescriptionList"/>
    <dgm:cxn modelId="{A3C65C0C-F760-4B2F-B9FE-7621C8CC4576}" type="presParOf" srcId="{D3B23B4B-25D0-4FC4-98DD-1AABD47C798D}" destId="{AE47D7CB-738C-4798-8B72-1C27C0AC57F1}" srcOrd="0" destOrd="0" presId="urn:microsoft.com/office/officeart/2018/5/layout/CenteredIconLabelDescriptionList"/>
    <dgm:cxn modelId="{F83618A0-FEEE-4764-817A-D63786EF1C7F}" type="presParOf" srcId="{D3B23B4B-25D0-4FC4-98DD-1AABD47C798D}" destId="{FC2E8CBD-94E0-40DF-9B55-FC928AE879FF}" srcOrd="1" destOrd="0" presId="urn:microsoft.com/office/officeart/2018/5/layout/CenteredIconLabelDescriptionList"/>
    <dgm:cxn modelId="{FC6DDC15-5861-4912-94BB-3629DB862112}" type="presParOf" srcId="{D3B23B4B-25D0-4FC4-98DD-1AABD47C798D}" destId="{2649CBD5-6DC0-48CF-A9D1-9E377735F03D}" srcOrd="2" destOrd="0" presId="urn:microsoft.com/office/officeart/2018/5/layout/CenteredIconLabelDescriptionList"/>
    <dgm:cxn modelId="{6F1203BF-074E-4ED0-B7ED-5EA6030A8EDD}" type="presParOf" srcId="{D3B23B4B-25D0-4FC4-98DD-1AABD47C798D}" destId="{13B22426-A26D-4D5D-9A04-82F1085B7347}" srcOrd="3" destOrd="0" presId="urn:microsoft.com/office/officeart/2018/5/layout/CenteredIconLabelDescriptionList"/>
    <dgm:cxn modelId="{6DFD2A3C-4544-4FB1-BEED-9C159617D70A}" type="presParOf" srcId="{D3B23B4B-25D0-4FC4-98DD-1AABD47C798D}" destId="{B866FEDD-51E0-4525-A342-F9EE1F9A60E1}" srcOrd="4" destOrd="0" presId="urn:microsoft.com/office/officeart/2018/5/layout/CenteredIconLabelDescriptionList"/>
    <dgm:cxn modelId="{146D0D9C-C611-4A50-B49C-C1873991E9BB}" type="presParOf" srcId="{4BB66F20-640E-4B0B-AAE7-80750860DB32}" destId="{0F101CFB-7423-4D6C-8400-83F59F0797FE}" srcOrd="1" destOrd="0" presId="urn:microsoft.com/office/officeart/2018/5/layout/CenteredIconLabelDescriptionList"/>
    <dgm:cxn modelId="{03131974-0EB9-443B-85E3-0EF193832D0F}" type="presParOf" srcId="{4BB66F20-640E-4B0B-AAE7-80750860DB32}" destId="{0F011AFE-C7C7-4F44-9395-EA86FA972174}" srcOrd="2" destOrd="0" presId="urn:microsoft.com/office/officeart/2018/5/layout/CenteredIconLabelDescriptionList"/>
    <dgm:cxn modelId="{BC762228-481C-48DD-AD83-640B44C79297}" type="presParOf" srcId="{0F011AFE-C7C7-4F44-9395-EA86FA972174}" destId="{E9821B75-6ABF-4617-8EA7-AAF280184D4A}" srcOrd="0" destOrd="0" presId="urn:microsoft.com/office/officeart/2018/5/layout/CenteredIconLabelDescriptionList"/>
    <dgm:cxn modelId="{4F979AA0-35BE-4671-8D98-A5CE680C2209}" type="presParOf" srcId="{0F011AFE-C7C7-4F44-9395-EA86FA972174}" destId="{9B328708-3103-4C77-99A0-A3AA6ED43AB5}" srcOrd="1" destOrd="0" presId="urn:microsoft.com/office/officeart/2018/5/layout/CenteredIconLabelDescriptionList"/>
    <dgm:cxn modelId="{06943563-4C21-43FA-96EE-66EAA3E43BD0}" type="presParOf" srcId="{0F011AFE-C7C7-4F44-9395-EA86FA972174}" destId="{4728DECD-D132-4792-B258-DCBC44B24989}" srcOrd="2" destOrd="0" presId="urn:microsoft.com/office/officeart/2018/5/layout/CenteredIconLabelDescriptionList"/>
    <dgm:cxn modelId="{03CFF7F3-1B39-44E5-B638-BD51B40C0557}" type="presParOf" srcId="{0F011AFE-C7C7-4F44-9395-EA86FA972174}" destId="{53136ECB-A9D6-4E27-9A28-613567B53F75}" srcOrd="3" destOrd="0" presId="urn:microsoft.com/office/officeart/2018/5/layout/CenteredIconLabelDescriptionList"/>
    <dgm:cxn modelId="{8FB926C5-EB1D-43AC-BE0D-EE3C94E4540F}" type="presParOf" srcId="{0F011AFE-C7C7-4F44-9395-EA86FA972174}" destId="{B56AE5D9-A228-429A-A2B7-8369E090E87A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CF49B32-883E-4342-8AAF-23E10A7329B0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644D7F46-847D-42AC-9B0C-D7E14333371D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4EB9462B-24CF-4E5F-98EB-DCEB70A71969}" type="parTrans" cxnId="{B386E852-8CE5-4184-9AF3-FA60C9605890}">
      <dgm:prSet/>
      <dgm:spPr/>
      <dgm:t>
        <a:bodyPr/>
        <a:lstStyle/>
        <a:p>
          <a:endParaRPr lang="en-US"/>
        </a:p>
      </dgm:t>
    </dgm:pt>
    <dgm:pt modelId="{59BB7ED1-2327-4191-8B01-81D8CAE8202C}" type="sibTrans" cxnId="{B386E852-8CE5-4184-9AF3-FA60C9605890}">
      <dgm:prSet/>
      <dgm:spPr/>
      <dgm:t>
        <a:bodyPr/>
        <a:lstStyle/>
        <a:p>
          <a:endParaRPr lang="en-US"/>
        </a:p>
      </dgm:t>
    </dgm:pt>
    <dgm:pt modelId="{B1510A93-AB8A-4314-9897-B3744FD120B5}">
      <dgm:prSet/>
      <dgm:spPr/>
      <dgm:t>
        <a:bodyPr/>
        <a:lstStyle/>
        <a:p>
          <a:r>
            <a:rPr lang="en-GB"/>
            <a:t>Start, stop, and restart Notebook VMs </a:t>
          </a:r>
          <a:endParaRPr lang="en-US"/>
        </a:p>
      </dgm:t>
    </dgm:pt>
    <dgm:pt modelId="{B310665A-DFCE-4DAB-B0CE-CB03DAE013B8}" type="parTrans" cxnId="{248797BC-8095-4FED-B0FA-C96844E63009}">
      <dgm:prSet/>
      <dgm:spPr/>
      <dgm:t>
        <a:bodyPr/>
        <a:lstStyle/>
        <a:p>
          <a:endParaRPr lang="en-US"/>
        </a:p>
      </dgm:t>
    </dgm:pt>
    <dgm:pt modelId="{48F571BA-E258-4004-B537-01126F212569}" type="sibTrans" cxnId="{248797BC-8095-4FED-B0FA-C96844E63009}">
      <dgm:prSet/>
      <dgm:spPr/>
      <dgm:t>
        <a:bodyPr/>
        <a:lstStyle/>
        <a:p>
          <a:endParaRPr lang="en-US"/>
        </a:p>
      </dgm:t>
    </dgm:pt>
    <dgm:pt modelId="{BD81BD7F-B858-4B3C-8A4B-95756DFE32D6}">
      <dgm:prSet/>
      <dgm:spPr/>
      <dgm:t>
        <a:bodyPr/>
        <a:lstStyle/>
        <a:p>
          <a:r>
            <a:rPr lang="en-GB"/>
            <a:t>Access the Azure ML workspace portal and see experiments, pipelines, computes, models and deployments.</a:t>
          </a:r>
          <a:endParaRPr lang="en-US"/>
        </a:p>
      </dgm:t>
    </dgm:pt>
    <dgm:pt modelId="{ED41EDDB-6E9E-4695-8333-7B43300F2C43}" type="parTrans" cxnId="{49C0ADF4-99E3-45C8-ABCB-927518401FD1}">
      <dgm:prSet/>
      <dgm:spPr/>
      <dgm:t>
        <a:bodyPr/>
        <a:lstStyle/>
        <a:p>
          <a:endParaRPr lang="en-US"/>
        </a:p>
      </dgm:t>
    </dgm:pt>
    <dgm:pt modelId="{7684310F-FA7F-41FA-9D46-3A1D023A722E}" type="sibTrans" cxnId="{49C0ADF4-99E3-45C8-ABCB-927518401FD1}">
      <dgm:prSet/>
      <dgm:spPr/>
      <dgm:t>
        <a:bodyPr/>
        <a:lstStyle/>
        <a:p>
          <a:endParaRPr lang="en-US"/>
        </a:p>
      </dgm:t>
    </dgm:pt>
    <dgm:pt modelId="{07016B7E-E758-411A-B869-BEA74F4DE9FA}">
      <dgm:prSet/>
      <dgm:spPr/>
      <dgm:t>
        <a:bodyPr/>
        <a:lstStyle/>
        <a:p>
          <a:r>
            <a:rPr lang="en-GB"/>
            <a:t>Create, publish, clone, and delete experiments and pipelines</a:t>
          </a:r>
          <a:endParaRPr lang="en-US"/>
        </a:p>
      </dgm:t>
    </dgm:pt>
    <dgm:pt modelId="{5925028B-A0E2-43D6-8C6D-831260D928A2}" type="parTrans" cxnId="{BF5D74F8-F450-4424-AF96-1B1BCD653A15}">
      <dgm:prSet/>
      <dgm:spPr/>
      <dgm:t>
        <a:bodyPr/>
        <a:lstStyle/>
        <a:p>
          <a:endParaRPr lang="en-US"/>
        </a:p>
      </dgm:t>
    </dgm:pt>
    <dgm:pt modelId="{1415535D-D72D-42A9-A97E-87A66AA82C30}" type="sibTrans" cxnId="{BF5D74F8-F450-4424-AF96-1B1BCD653A15}">
      <dgm:prSet/>
      <dgm:spPr/>
      <dgm:t>
        <a:bodyPr/>
        <a:lstStyle/>
        <a:p>
          <a:endParaRPr lang="en-US"/>
        </a:p>
      </dgm:t>
    </dgm:pt>
    <dgm:pt modelId="{28413D9B-A066-491A-B9F3-7855E3CABE4D}">
      <dgm:prSet/>
      <dgm:spPr/>
      <dgm:t>
        <a:bodyPr/>
        <a:lstStyle/>
        <a:p>
          <a:r>
            <a:rPr lang="en-GB"/>
            <a:t>Run pipelines from SDK and portal</a:t>
          </a:r>
          <a:endParaRPr lang="en-US"/>
        </a:p>
      </dgm:t>
    </dgm:pt>
    <dgm:pt modelId="{59DFAAD1-3F41-471F-9F7C-BB081E1D8C4C}" type="parTrans" cxnId="{724D10A6-4FB2-4842-81B4-9B11502714BB}">
      <dgm:prSet/>
      <dgm:spPr/>
      <dgm:t>
        <a:bodyPr/>
        <a:lstStyle/>
        <a:p>
          <a:endParaRPr lang="en-US"/>
        </a:p>
      </dgm:t>
    </dgm:pt>
    <dgm:pt modelId="{99A8EA45-BDAE-4F33-A12C-7C9526209DA0}" type="sibTrans" cxnId="{724D10A6-4FB2-4842-81B4-9B11502714BB}">
      <dgm:prSet/>
      <dgm:spPr/>
      <dgm:t>
        <a:bodyPr/>
        <a:lstStyle/>
        <a:p>
          <a:endParaRPr lang="en-US"/>
        </a:p>
      </dgm:t>
    </dgm:pt>
    <dgm:pt modelId="{0074F468-61BD-448C-BC3E-317DAD7E0745}">
      <dgm:prSet/>
      <dgm:spPr/>
      <dgm:t>
        <a:bodyPr/>
        <a:lstStyle/>
        <a:p>
          <a:r>
            <a:rPr lang="en-GB"/>
            <a:t>Download log files and statistics</a:t>
          </a:r>
          <a:endParaRPr lang="en-US"/>
        </a:p>
      </dgm:t>
    </dgm:pt>
    <dgm:pt modelId="{B5088449-DC2D-4BDA-8C2F-AE36F002B11D}" type="parTrans" cxnId="{44F97FDF-C1DF-4703-B28A-99CE310F5E72}">
      <dgm:prSet/>
      <dgm:spPr/>
      <dgm:t>
        <a:bodyPr/>
        <a:lstStyle/>
        <a:p>
          <a:endParaRPr lang="en-US"/>
        </a:p>
      </dgm:t>
    </dgm:pt>
    <dgm:pt modelId="{5B1DDB02-A026-492F-B554-43DEDF5947BF}" type="sibTrans" cxnId="{44F97FDF-C1DF-4703-B28A-99CE310F5E72}">
      <dgm:prSet/>
      <dgm:spPr/>
      <dgm:t>
        <a:bodyPr/>
        <a:lstStyle/>
        <a:p>
          <a:endParaRPr lang="en-US"/>
        </a:p>
      </dgm:t>
    </dgm:pt>
    <dgm:pt modelId="{25939E37-A421-4BE2-9591-00DD00BF0276}">
      <dgm:prSet/>
      <dgm:spPr/>
      <dgm:t>
        <a:bodyPr/>
        <a:lstStyle/>
        <a:p>
          <a:r>
            <a:rPr lang="en-GB"/>
            <a:t>Register and unregister models</a:t>
          </a:r>
          <a:endParaRPr lang="en-US"/>
        </a:p>
      </dgm:t>
    </dgm:pt>
    <dgm:pt modelId="{D63A590C-FE89-4317-9508-EDF525F9332B}" type="parTrans" cxnId="{FD6E65CB-0BA2-4269-AAFC-86EDA6952859}">
      <dgm:prSet/>
      <dgm:spPr/>
      <dgm:t>
        <a:bodyPr/>
        <a:lstStyle/>
        <a:p>
          <a:endParaRPr lang="en-US"/>
        </a:p>
      </dgm:t>
    </dgm:pt>
    <dgm:pt modelId="{57EBF4B7-A42F-4F92-89D6-F49D20AF9673}" type="sibTrans" cxnId="{FD6E65CB-0BA2-4269-AAFC-86EDA6952859}">
      <dgm:prSet/>
      <dgm:spPr/>
      <dgm:t>
        <a:bodyPr/>
        <a:lstStyle/>
        <a:p>
          <a:endParaRPr lang="en-US"/>
        </a:p>
      </dgm:t>
    </dgm:pt>
    <dgm:pt modelId="{F46787E5-8DB5-4639-9D53-80F0D4F5D04D}">
      <dgm:prSet/>
      <dgm:spPr/>
      <dgm:t>
        <a:bodyPr/>
        <a:lstStyle/>
        <a:p>
          <a:r>
            <a:rPr lang="en-GB"/>
            <a:t>List, read and write on any registered datastore</a:t>
          </a:r>
          <a:endParaRPr lang="en-US"/>
        </a:p>
      </dgm:t>
    </dgm:pt>
    <dgm:pt modelId="{B2680C33-8A67-45FC-83FC-F21A876C4B0B}" type="parTrans" cxnId="{AB24B08A-D086-432C-9371-B07C38CEBA46}">
      <dgm:prSet/>
      <dgm:spPr/>
      <dgm:t>
        <a:bodyPr/>
        <a:lstStyle/>
        <a:p>
          <a:endParaRPr lang="en-US"/>
        </a:p>
      </dgm:t>
    </dgm:pt>
    <dgm:pt modelId="{4C3B383A-7229-47D0-819C-49EF5C8FE4CE}" type="sibTrans" cxnId="{AB24B08A-D086-432C-9371-B07C38CEBA46}">
      <dgm:prSet/>
      <dgm:spPr/>
      <dgm:t>
        <a:bodyPr/>
        <a:lstStyle/>
        <a:p>
          <a:endParaRPr lang="en-US"/>
        </a:p>
      </dgm:t>
    </dgm:pt>
    <dgm:pt modelId="{7AA3B3BC-E7A1-4647-B926-8A51F8EEA793}">
      <dgm:prSet/>
      <dgm:spPr/>
      <dgm:t>
        <a:bodyPr/>
        <a:lstStyle/>
        <a:p>
          <a:r>
            <a:rPr lang="en-GB"/>
            <a:t>List, read, register and unregister datasets</a:t>
          </a:r>
          <a:endParaRPr lang="en-US"/>
        </a:p>
      </dgm:t>
    </dgm:pt>
    <dgm:pt modelId="{5AD98C8F-13C9-4C1C-8459-1691368D21AA}" type="parTrans" cxnId="{B4827644-36B0-4CDC-AA91-EF3A7D9AC177}">
      <dgm:prSet/>
      <dgm:spPr/>
      <dgm:t>
        <a:bodyPr/>
        <a:lstStyle/>
        <a:p>
          <a:endParaRPr lang="en-US"/>
        </a:p>
      </dgm:t>
    </dgm:pt>
    <dgm:pt modelId="{56E90960-67B4-4C2A-901E-2B1C57A582FF}" type="sibTrans" cxnId="{B4827644-36B0-4CDC-AA91-EF3A7D9AC177}">
      <dgm:prSet/>
      <dgm:spPr/>
      <dgm:t>
        <a:bodyPr/>
        <a:lstStyle/>
        <a:p>
          <a:endParaRPr lang="en-US"/>
        </a:p>
      </dgm:t>
    </dgm:pt>
    <dgm:pt modelId="{A78C9533-CE0C-407A-94A0-BA78AB75E415}">
      <dgm:prSet/>
      <dgm:spPr/>
      <dgm:t>
        <a:bodyPr/>
        <a:lstStyle/>
        <a:p>
          <a:pPr>
            <a:defRPr b="1"/>
          </a:pPr>
          <a:r>
            <a:rPr lang="en-US"/>
            <a:t>Not Allowed</a:t>
          </a:r>
        </a:p>
      </dgm:t>
    </dgm:pt>
    <dgm:pt modelId="{5A50F8B7-8989-418D-A271-FCC28B784CA5}" type="parTrans" cxnId="{32F6D940-493D-48EB-B7B2-C92460F6F654}">
      <dgm:prSet/>
      <dgm:spPr/>
      <dgm:t>
        <a:bodyPr/>
        <a:lstStyle/>
        <a:p>
          <a:endParaRPr lang="en-US"/>
        </a:p>
      </dgm:t>
    </dgm:pt>
    <dgm:pt modelId="{5391505D-A828-4194-B313-EF9CA2FC705B}" type="sibTrans" cxnId="{32F6D940-493D-48EB-B7B2-C92460F6F654}">
      <dgm:prSet/>
      <dgm:spPr/>
      <dgm:t>
        <a:bodyPr/>
        <a:lstStyle/>
        <a:p>
          <a:endParaRPr lang="en-US"/>
        </a:p>
      </dgm:t>
    </dgm:pt>
    <dgm:pt modelId="{4993FA3A-423A-4976-8AB8-C3C3B41E4A3A}">
      <dgm:prSet/>
      <dgm:spPr/>
      <dgm:t>
        <a:bodyPr/>
        <a:lstStyle/>
        <a:p>
          <a:r>
            <a:rPr lang="en-GB"/>
            <a:t>Create, update, or delete an AML workspace</a:t>
          </a:r>
          <a:endParaRPr lang="en-US"/>
        </a:p>
      </dgm:t>
    </dgm:pt>
    <dgm:pt modelId="{3E25B020-FF17-4254-A32E-B39EE3CAC452}" type="parTrans" cxnId="{4015A66A-14FA-494B-A61B-51605A6FB580}">
      <dgm:prSet/>
      <dgm:spPr/>
      <dgm:t>
        <a:bodyPr/>
        <a:lstStyle/>
        <a:p>
          <a:endParaRPr lang="en-US"/>
        </a:p>
      </dgm:t>
    </dgm:pt>
    <dgm:pt modelId="{D00DF6E4-E921-40C3-B638-657DB059592C}" type="sibTrans" cxnId="{4015A66A-14FA-494B-A61B-51605A6FB580}">
      <dgm:prSet/>
      <dgm:spPr/>
      <dgm:t>
        <a:bodyPr/>
        <a:lstStyle/>
        <a:p>
          <a:endParaRPr lang="en-US"/>
        </a:p>
      </dgm:t>
    </dgm:pt>
    <dgm:pt modelId="{28EA22D7-5C9E-4C98-B539-5F98603A7EE8}">
      <dgm:prSet/>
      <dgm:spPr/>
      <dgm:t>
        <a:bodyPr/>
        <a:lstStyle/>
        <a:p>
          <a:r>
            <a:rPr lang="en-GB"/>
            <a:t>Create, update, or delete a Notebook VM</a:t>
          </a:r>
          <a:endParaRPr lang="en-US"/>
        </a:p>
      </dgm:t>
    </dgm:pt>
    <dgm:pt modelId="{871C7135-F64C-4E92-8077-512BBA8BA54C}" type="parTrans" cxnId="{C6181FCD-32C4-4EBC-9272-A886BAE30D3B}">
      <dgm:prSet/>
      <dgm:spPr/>
      <dgm:t>
        <a:bodyPr/>
        <a:lstStyle/>
        <a:p>
          <a:endParaRPr lang="en-US"/>
        </a:p>
      </dgm:t>
    </dgm:pt>
    <dgm:pt modelId="{71C8FC9A-AEBF-48E6-B880-66801D33EAF5}" type="sibTrans" cxnId="{C6181FCD-32C4-4EBC-9272-A886BAE30D3B}">
      <dgm:prSet/>
      <dgm:spPr/>
      <dgm:t>
        <a:bodyPr/>
        <a:lstStyle/>
        <a:p>
          <a:endParaRPr lang="en-US"/>
        </a:p>
      </dgm:t>
    </dgm:pt>
    <dgm:pt modelId="{80AC285E-71BB-4D39-B469-9AC3C9993335}">
      <dgm:prSet/>
      <dgm:spPr/>
      <dgm:t>
        <a:bodyPr/>
        <a:lstStyle/>
        <a:p>
          <a:r>
            <a:rPr lang="en-GB"/>
            <a:t>Create, update, delete, or attach computes</a:t>
          </a:r>
          <a:endParaRPr lang="en-US"/>
        </a:p>
      </dgm:t>
    </dgm:pt>
    <dgm:pt modelId="{5BDBD8BD-F999-4515-BE3D-31389DC01296}" type="parTrans" cxnId="{B80D7CF9-0EA6-4C15-A675-3B662C4F4776}">
      <dgm:prSet/>
      <dgm:spPr/>
      <dgm:t>
        <a:bodyPr/>
        <a:lstStyle/>
        <a:p>
          <a:endParaRPr lang="en-US"/>
        </a:p>
      </dgm:t>
    </dgm:pt>
    <dgm:pt modelId="{F3C78700-C58B-469B-A533-6F75E15AF876}" type="sibTrans" cxnId="{B80D7CF9-0EA6-4C15-A675-3B662C4F4776}">
      <dgm:prSet/>
      <dgm:spPr/>
      <dgm:t>
        <a:bodyPr/>
        <a:lstStyle/>
        <a:p>
          <a:endParaRPr lang="en-US"/>
        </a:p>
      </dgm:t>
    </dgm:pt>
    <dgm:pt modelId="{7D634D57-6084-4CA6-B871-44263D76A7E1}">
      <dgm:prSet/>
      <dgm:spPr/>
      <dgm:t>
        <a:bodyPr/>
        <a:lstStyle/>
        <a:p>
          <a:r>
            <a:rPr lang="en-GB"/>
            <a:t>Deploy models to any service other than single node AKS cluster</a:t>
          </a:r>
          <a:endParaRPr lang="en-US"/>
        </a:p>
      </dgm:t>
    </dgm:pt>
    <dgm:pt modelId="{34C60B74-A20F-4434-80AE-8B248CF3E1D3}" type="parTrans" cxnId="{E5729F94-B115-4790-86CE-E7CE4BA1D1ED}">
      <dgm:prSet/>
      <dgm:spPr/>
      <dgm:t>
        <a:bodyPr/>
        <a:lstStyle/>
        <a:p>
          <a:endParaRPr lang="en-US"/>
        </a:p>
      </dgm:t>
    </dgm:pt>
    <dgm:pt modelId="{F5F858F0-C6F4-4CF1-99CD-F7E803F361E9}" type="sibTrans" cxnId="{E5729F94-B115-4790-86CE-E7CE4BA1D1ED}">
      <dgm:prSet/>
      <dgm:spPr/>
      <dgm:t>
        <a:bodyPr/>
        <a:lstStyle/>
        <a:p>
          <a:endParaRPr lang="en-US"/>
        </a:p>
      </dgm:t>
    </dgm:pt>
    <dgm:pt modelId="{89942063-3266-4051-9361-8D84698DA243}">
      <dgm:prSet/>
      <dgm:spPr/>
      <dgm:t>
        <a:bodyPr/>
        <a:lstStyle/>
        <a:p>
          <a:r>
            <a:rPr lang="en-GB"/>
            <a:t>Register/Unregister datastores</a:t>
          </a:r>
          <a:endParaRPr lang="en-US"/>
        </a:p>
      </dgm:t>
    </dgm:pt>
    <dgm:pt modelId="{9A27B95B-62B0-44BE-BD34-92780531A6B4}" type="parTrans" cxnId="{9D5B9592-652D-494C-A4D5-7DC5DE5A5DE9}">
      <dgm:prSet/>
      <dgm:spPr/>
      <dgm:t>
        <a:bodyPr/>
        <a:lstStyle/>
        <a:p>
          <a:endParaRPr lang="en-US"/>
        </a:p>
      </dgm:t>
    </dgm:pt>
    <dgm:pt modelId="{805D2BCB-3D3F-43A7-8E4A-49CB08D5BDEF}" type="sibTrans" cxnId="{9D5B9592-652D-494C-A4D5-7DC5DE5A5DE9}">
      <dgm:prSet/>
      <dgm:spPr/>
      <dgm:t>
        <a:bodyPr/>
        <a:lstStyle/>
        <a:p>
          <a:endParaRPr lang="en-US"/>
        </a:p>
      </dgm:t>
    </dgm:pt>
    <dgm:pt modelId="{57A31980-3B50-40F2-8D7F-2C92B55D88D3}">
      <dgm:prSet/>
      <dgm:spPr/>
      <dgm:t>
        <a:bodyPr/>
        <a:lstStyle/>
        <a:p>
          <a:r>
            <a:rPr lang="en-GB"/>
            <a:t>Update any type of roles</a:t>
          </a:r>
          <a:endParaRPr lang="en-US"/>
        </a:p>
      </dgm:t>
    </dgm:pt>
    <dgm:pt modelId="{1B99924F-790C-4C95-8E5F-F8E36E031FFE}" type="parTrans" cxnId="{D640EEB4-FF16-4FB1-AAEF-1387C3203022}">
      <dgm:prSet/>
      <dgm:spPr/>
      <dgm:t>
        <a:bodyPr/>
        <a:lstStyle/>
        <a:p>
          <a:endParaRPr lang="en-US"/>
        </a:p>
      </dgm:t>
    </dgm:pt>
    <dgm:pt modelId="{165C685F-24F9-4275-BCC2-AE6D4D21271A}" type="sibTrans" cxnId="{D640EEB4-FF16-4FB1-AAEF-1387C3203022}">
      <dgm:prSet/>
      <dgm:spPr/>
      <dgm:t>
        <a:bodyPr/>
        <a:lstStyle/>
        <a:p>
          <a:endParaRPr lang="en-US"/>
        </a:p>
      </dgm:t>
    </dgm:pt>
    <dgm:pt modelId="{747424FB-0AA1-4903-9A54-7D6048588BDC}" type="pres">
      <dgm:prSet presAssocID="{5CF49B32-883E-4342-8AAF-23E10A7329B0}" presName="root" presStyleCnt="0">
        <dgm:presLayoutVars>
          <dgm:dir/>
          <dgm:resizeHandles val="exact"/>
        </dgm:presLayoutVars>
      </dgm:prSet>
      <dgm:spPr/>
    </dgm:pt>
    <dgm:pt modelId="{75566EE1-AA01-455E-A8FE-B9999EEC9DF1}" type="pres">
      <dgm:prSet presAssocID="{644D7F46-847D-42AC-9B0C-D7E14333371D}" presName="compNode" presStyleCnt="0"/>
      <dgm:spPr/>
    </dgm:pt>
    <dgm:pt modelId="{8265D0B4-2218-4ED8-B3C4-9DCD22695568}" type="pres">
      <dgm:prSet presAssocID="{644D7F46-847D-42AC-9B0C-D7E14333371D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yncing Cloud"/>
        </a:ext>
      </dgm:extLst>
    </dgm:pt>
    <dgm:pt modelId="{010AE673-F0F8-464E-B752-41431D6517AA}" type="pres">
      <dgm:prSet presAssocID="{644D7F46-847D-42AC-9B0C-D7E14333371D}" presName="iconSpace" presStyleCnt="0"/>
      <dgm:spPr/>
    </dgm:pt>
    <dgm:pt modelId="{D9618C62-5347-495A-8BF1-E2DF8C9051F6}" type="pres">
      <dgm:prSet presAssocID="{644D7F46-847D-42AC-9B0C-D7E14333371D}" presName="parTx" presStyleLbl="revTx" presStyleIdx="0" presStyleCnt="4">
        <dgm:presLayoutVars>
          <dgm:chMax val="0"/>
          <dgm:chPref val="0"/>
        </dgm:presLayoutVars>
      </dgm:prSet>
      <dgm:spPr/>
    </dgm:pt>
    <dgm:pt modelId="{07868F43-CAC6-4892-A02E-5166895C80BE}" type="pres">
      <dgm:prSet presAssocID="{644D7F46-847D-42AC-9B0C-D7E14333371D}" presName="txSpace" presStyleCnt="0"/>
      <dgm:spPr/>
    </dgm:pt>
    <dgm:pt modelId="{4C8B5919-EDCD-4D74-8EE7-249F89CC6CCA}" type="pres">
      <dgm:prSet presAssocID="{644D7F46-847D-42AC-9B0C-D7E14333371D}" presName="desTx" presStyleLbl="revTx" presStyleIdx="1" presStyleCnt="4">
        <dgm:presLayoutVars/>
      </dgm:prSet>
      <dgm:spPr/>
    </dgm:pt>
    <dgm:pt modelId="{08AB0514-801F-4A95-99BB-7D2EFD79F123}" type="pres">
      <dgm:prSet presAssocID="{59BB7ED1-2327-4191-8B01-81D8CAE8202C}" presName="sibTrans" presStyleCnt="0"/>
      <dgm:spPr/>
    </dgm:pt>
    <dgm:pt modelId="{A9D74FCA-4F0A-467E-B300-8229B8B6B6AC}" type="pres">
      <dgm:prSet presAssocID="{A78C9533-CE0C-407A-94A0-BA78AB75E415}" presName="compNode" presStyleCnt="0"/>
      <dgm:spPr/>
    </dgm:pt>
    <dgm:pt modelId="{41E93C6C-A67D-48EB-A27C-6CB03499252A}" type="pres">
      <dgm:prSet presAssocID="{A78C9533-CE0C-407A-94A0-BA78AB75E415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ubbish"/>
        </a:ext>
      </dgm:extLst>
    </dgm:pt>
    <dgm:pt modelId="{436249D8-28C6-4706-AD39-16A395C465E7}" type="pres">
      <dgm:prSet presAssocID="{A78C9533-CE0C-407A-94A0-BA78AB75E415}" presName="iconSpace" presStyleCnt="0"/>
      <dgm:spPr/>
    </dgm:pt>
    <dgm:pt modelId="{A1410ED6-C1AA-485D-92A2-A24FFD80B5D1}" type="pres">
      <dgm:prSet presAssocID="{A78C9533-CE0C-407A-94A0-BA78AB75E415}" presName="parTx" presStyleLbl="revTx" presStyleIdx="2" presStyleCnt="4">
        <dgm:presLayoutVars>
          <dgm:chMax val="0"/>
          <dgm:chPref val="0"/>
        </dgm:presLayoutVars>
      </dgm:prSet>
      <dgm:spPr/>
    </dgm:pt>
    <dgm:pt modelId="{5F4F097F-1F81-4649-AC95-7E024D0BCD1C}" type="pres">
      <dgm:prSet presAssocID="{A78C9533-CE0C-407A-94A0-BA78AB75E415}" presName="txSpace" presStyleCnt="0"/>
      <dgm:spPr/>
    </dgm:pt>
    <dgm:pt modelId="{A6CC0FB3-481B-47B4-B831-A2703BB55BB7}" type="pres">
      <dgm:prSet presAssocID="{A78C9533-CE0C-407A-94A0-BA78AB75E415}" presName="desTx" presStyleLbl="revTx" presStyleIdx="3" presStyleCnt="4">
        <dgm:presLayoutVars/>
      </dgm:prSet>
      <dgm:spPr/>
    </dgm:pt>
  </dgm:ptLst>
  <dgm:cxnLst>
    <dgm:cxn modelId="{D27C892B-B557-4E75-B194-838D0605782C}" type="presOf" srcId="{B1510A93-AB8A-4314-9897-B3744FD120B5}" destId="{4C8B5919-EDCD-4D74-8EE7-249F89CC6CCA}" srcOrd="0" destOrd="0" presId="urn:microsoft.com/office/officeart/2018/2/layout/IconLabelDescriptionList"/>
    <dgm:cxn modelId="{4369FE2E-877D-4A30-A4DB-E0093023C4F7}" type="presOf" srcId="{28413D9B-A066-491A-B9F3-7855E3CABE4D}" destId="{4C8B5919-EDCD-4D74-8EE7-249F89CC6CCA}" srcOrd="0" destOrd="3" presId="urn:microsoft.com/office/officeart/2018/2/layout/IconLabelDescriptionList"/>
    <dgm:cxn modelId="{32F6D940-493D-48EB-B7B2-C92460F6F654}" srcId="{5CF49B32-883E-4342-8AAF-23E10A7329B0}" destId="{A78C9533-CE0C-407A-94A0-BA78AB75E415}" srcOrd="1" destOrd="0" parTransId="{5A50F8B7-8989-418D-A271-FCC28B784CA5}" sibTransId="{5391505D-A828-4194-B313-EF9CA2FC705B}"/>
    <dgm:cxn modelId="{B4827644-36B0-4CDC-AA91-EF3A7D9AC177}" srcId="{644D7F46-847D-42AC-9B0C-D7E14333371D}" destId="{7AA3B3BC-E7A1-4647-B926-8A51F8EEA793}" srcOrd="7" destOrd="0" parTransId="{5AD98C8F-13C9-4C1C-8459-1691368D21AA}" sibTransId="{56E90960-67B4-4C2A-901E-2B1C57A582FF}"/>
    <dgm:cxn modelId="{B386E852-8CE5-4184-9AF3-FA60C9605890}" srcId="{5CF49B32-883E-4342-8AAF-23E10A7329B0}" destId="{644D7F46-847D-42AC-9B0C-D7E14333371D}" srcOrd="0" destOrd="0" parTransId="{4EB9462B-24CF-4E5F-98EB-DCEB70A71969}" sibTransId="{59BB7ED1-2327-4191-8B01-81D8CAE8202C}"/>
    <dgm:cxn modelId="{9799135C-9E1D-470C-A989-647DE6936051}" type="presOf" srcId="{644D7F46-847D-42AC-9B0C-D7E14333371D}" destId="{D9618C62-5347-495A-8BF1-E2DF8C9051F6}" srcOrd="0" destOrd="0" presId="urn:microsoft.com/office/officeart/2018/2/layout/IconLabelDescriptionList"/>
    <dgm:cxn modelId="{7549BB68-F7C7-43B3-A325-4B79886EC3A4}" type="presOf" srcId="{80AC285E-71BB-4D39-B469-9AC3C9993335}" destId="{A6CC0FB3-481B-47B4-B831-A2703BB55BB7}" srcOrd="0" destOrd="2" presId="urn:microsoft.com/office/officeart/2018/2/layout/IconLabelDescriptionList"/>
    <dgm:cxn modelId="{4015A66A-14FA-494B-A61B-51605A6FB580}" srcId="{A78C9533-CE0C-407A-94A0-BA78AB75E415}" destId="{4993FA3A-423A-4976-8AB8-C3C3B41E4A3A}" srcOrd="0" destOrd="0" parTransId="{3E25B020-FF17-4254-A32E-B39EE3CAC452}" sibTransId="{D00DF6E4-E921-40C3-B638-657DB059592C}"/>
    <dgm:cxn modelId="{13D2C07C-64F5-4C68-8FA8-0C826215DBFC}" type="presOf" srcId="{7D634D57-6084-4CA6-B871-44263D76A7E1}" destId="{A6CC0FB3-481B-47B4-B831-A2703BB55BB7}" srcOrd="0" destOrd="3" presId="urn:microsoft.com/office/officeart/2018/2/layout/IconLabelDescriptionList"/>
    <dgm:cxn modelId="{F6D4927F-5AA0-48A7-80C7-58DCC47D1440}" type="presOf" srcId="{BD81BD7F-B858-4B3C-8A4B-95756DFE32D6}" destId="{4C8B5919-EDCD-4D74-8EE7-249F89CC6CCA}" srcOrd="0" destOrd="1" presId="urn:microsoft.com/office/officeart/2018/2/layout/IconLabelDescriptionList"/>
    <dgm:cxn modelId="{592A6F80-63DC-4C51-BF32-544BE708E093}" type="presOf" srcId="{7AA3B3BC-E7A1-4647-B926-8A51F8EEA793}" destId="{4C8B5919-EDCD-4D74-8EE7-249F89CC6CCA}" srcOrd="0" destOrd="7" presId="urn:microsoft.com/office/officeart/2018/2/layout/IconLabelDescriptionList"/>
    <dgm:cxn modelId="{EF8B8F8A-3421-464C-AD49-099AC20CDB77}" type="presOf" srcId="{57A31980-3B50-40F2-8D7F-2C92B55D88D3}" destId="{A6CC0FB3-481B-47B4-B831-A2703BB55BB7}" srcOrd="0" destOrd="5" presId="urn:microsoft.com/office/officeart/2018/2/layout/IconLabelDescriptionList"/>
    <dgm:cxn modelId="{AB24B08A-D086-432C-9371-B07C38CEBA46}" srcId="{644D7F46-847D-42AC-9B0C-D7E14333371D}" destId="{F46787E5-8DB5-4639-9D53-80F0D4F5D04D}" srcOrd="6" destOrd="0" parTransId="{B2680C33-8A67-45FC-83FC-F21A876C4B0B}" sibTransId="{4C3B383A-7229-47D0-819C-49EF5C8FE4CE}"/>
    <dgm:cxn modelId="{8142468D-9F76-4894-A40D-A19137ED1B0F}" type="presOf" srcId="{A78C9533-CE0C-407A-94A0-BA78AB75E415}" destId="{A1410ED6-C1AA-485D-92A2-A24FFD80B5D1}" srcOrd="0" destOrd="0" presId="urn:microsoft.com/office/officeart/2018/2/layout/IconLabelDescriptionList"/>
    <dgm:cxn modelId="{DDE79C8F-451D-461B-9464-B8AC2F8C8ADD}" type="presOf" srcId="{4993FA3A-423A-4976-8AB8-C3C3B41E4A3A}" destId="{A6CC0FB3-481B-47B4-B831-A2703BB55BB7}" srcOrd="0" destOrd="0" presId="urn:microsoft.com/office/officeart/2018/2/layout/IconLabelDescriptionList"/>
    <dgm:cxn modelId="{9D5B9592-652D-494C-A4D5-7DC5DE5A5DE9}" srcId="{A78C9533-CE0C-407A-94A0-BA78AB75E415}" destId="{89942063-3266-4051-9361-8D84698DA243}" srcOrd="4" destOrd="0" parTransId="{9A27B95B-62B0-44BE-BD34-92780531A6B4}" sibTransId="{805D2BCB-3D3F-43A7-8E4A-49CB08D5BDEF}"/>
    <dgm:cxn modelId="{E5729F94-B115-4790-86CE-E7CE4BA1D1ED}" srcId="{A78C9533-CE0C-407A-94A0-BA78AB75E415}" destId="{7D634D57-6084-4CA6-B871-44263D76A7E1}" srcOrd="3" destOrd="0" parTransId="{34C60B74-A20F-4434-80AE-8B248CF3E1D3}" sibTransId="{F5F858F0-C6F4-4CF1-99CD-F7E803F361E9}"/>
    <dgm:cxn modelId="{73F788A0-7F9A-4F6A-B012-BD04B57C1AB1}" type="presOf" srcId="{25939E37-A421-4BE2-9591-00DD00BF0276}" destId="{4C8B5919-EDCD-4D74-8EE7-249F89CC6CCA}" srcOrd="0" destOrd="5" presId="urn:microsoft.com/office/officeart/2018/2/layout/IconLabelDescriptionList"/>
    <dgm:cxn modelId="{724D10A6-4FB2-4842-81B4-9B11502714BB}" srcId="{644D7F46-847D-42AC-9B0C-D7E14333371D}" destId="{28413D9B-A066-491A-B9F3-7855E3CABE4D}" srcOrd="3" destOrd="0" parTransId="{59DFAAD1-3F41-471F-9F7C-BB081E1D8C4C}" sibTransId="{99A8EA45-BDAE-4F33-A12C-7C9526209DA0}"/>
    <dgm:cxn modelId="{4928D2AC-D513-4205-9DEB-A22C4A8F7CB5}" type="presOf" srcId="{5CF49B32-883E-4342-8AAF-23E10A7329B0}" destId="{747424FB-0AA1-4903-9A54-7D6048588BDC}" srcOrd="0" destOrd="0" presId="urn:microsoft.com/office/officeart/2018/2/layout/IconLabelDescriptionList"/>
    <dgm:cxn modelId="{D640EEB4-FF16-4FB1-AAEF-1387C3203022}" srcId="{A78C9533-CE0C-407A-94A0-BA78AB75E415}" destId="{57A31980-3B50-40F2-8D7F-2C92B55D88D3}" srcOrd="5" destOrd="0" parTransId="{1B99924F-790C-4C95-8E5F-F8E36E031FFE}" sibTransId="{165C685F-24F9-4275-BCC2-AE6D4D21271A}"/>
    <dgm:cxn modelId="{248797BC-8095-4FED-B0FA-C96844E63009}" srcId="{644D7F46-847D-42AC-9B0C-D7E14333371D}" destId="{B1510A93-AB8A-4314-9897-B3744FD120B5}" srcOrd="0" destOrd="0" parTransId="{B310665A-DFCE-4DAB-B0CE-CB03DAE013B8}" sibTransId="{48F571BA-E258-4004-B537-01126F212569}"/>
    <dgm:cxn modelId="{920B25C9-2503-45F2-9F6E-71C084C2559C}" type="presOf" srcId="{28EA22D7-5C9E-4C98-B539-5F98603A7EE8}" destId="{A6CC0FB3-481B-47B4-B831-A2703BB55BB7}" srcOrd="0" destOrd="1" presId="urn:microsoft.com/office/officeart/2018/2/layout/IconLabelDescriptionList"/>
    <dgm:cxn modelId="{209813CA-FC5D-41F0-A592-02D998D8B354}" type="presOf" srcId="{0074F468-61BD-448C-BC3E-317DAD7E0745}" destId="{4C8B5919-EDCD-4D74-8EE7-249F89CC6CCA}" srcOrd="0" destOrd="4" presId="urn:microsoft.com/office/officeart/2018/2/layout/IconLabelDescriptionList"/>
    <dgm:cxn modelId="{FD6E65CB-0BA2-4269-AAFC-86EDA6952859}" srcId="{644D7F46-847D-42AC-9B0C-D7E14333371D}" destId="{25939E37-A421-4BE2-9591-00DD00BF0276}" srcOrd="5" destOrd="0" parTransId="{D63A590C-FE89-4317-9508-EDF525F9332B}" sibTransId="{57EBF4B7-A42F-4F92-89D6-F49D20AF9673}"/>
    <dgm:cxn modelId="{C6181FCD-32C4-4EBC-9272-A886BAE30D3B}" srcId="{A78C9533-CE0C-407A-94A0-BA78AB75E415}" destId="{28EA22D7-5C9E-4C98-B539-5F98603A7EE8}" srcOrd="1" destOrd="0" parTransId="{871C7135-F64C-4E92-8077-512BBA8BA54C}" sibTransId="{71C8FC9A-AEBF-48E6-B880-66801D33EAF5}"/>
    <dgm:cxn modelId="{44F97FDF-C1DF-4703-B28A-99CE310F5E72}" srcId="{644D7F46-847D-42AC-9B0C-D7E14333371D}" destId="{0074F468-61BD-448C-BC3E-317DAD7E0745}" srcOrd="4" destOrd="0" parTransId="{B5088449-DC2D-4BDA-8C2F-AE36F002B11D}" sibTransId="{5B1DDB02-A026-492F-B554-43DEDF5947BF}"/>
    <dgm:cxn modelId="{FAD793E7-C26A-4894-A529-09B8554B820E}" type="presOf" srcId="{07016B7E-E758-411A-B869-BEA74F4DE9FA}" destId="{4C8B5919-EDCD-4D74-8EE7-249F89CC6CCA}" srcOrd="0" destOrd="2" presId="urn:microsoft.com/office/officeart/2018/2/layout/IconLabelDescriptionList"/>
    <dgm:cxn modelId="{49C0ADF4-99E3-45C8-ABCB-927518401FD1}" srcId="{644D7F46-847D-42AC-9B0C-D7E14333371D}" destId="{BD81BD7F-B858-4B3C-8A4B-95756DFE32D6}" srcOrd="1" destOrd="0" parTransId="{ED41EDDB-6E9E-4695-8333-7B43300F2C43}" sibTransId="{7684310F-FA7F-41FA-9D46-3A1D023A722E}"/>
    <dgm:cxn modelId="{BF5D74F8-F450-4424-AF96-1B1BCD653A15}" srcId="{644D7F46-847D-42AC-9B0C-D7E14333371D}" destId="{07016B7E-E758-411A-B869-BEA74F4DE9FA}" srcOrd="2" destOrd="0" parTransId="{5925028B-A0E2-43D6-8C6D-831260D928A2}" sibTransId="{1415535D-D72D-42A9-A97E-87A66AA82C30}"/>
    <dgm:cxn modelId="{B80D7CF9-0EA6-4C15-A675-3B662C4F4776}" srcId="{A78C9533-CE0C-407A-94A0-BA78AB75E415}" destId="{80AC285E-71BB-4D39-B469-9AC3C9993335}" srcOrd="2" destOrd="0" parTransId="{5BDBD8BD-F999-4515-BE3D-31389DC01296}" sibTransId="{F3C78700-C58B-469B-A533-6F75E15AF876}"/>
    <dgm:cxn modelId="{80994EFA-5443-49E2-8B82-637862D7E784}" type="presOf" srcId="{89942063-3266-4051-9361-8D84698DA243}" destId="{A6CC0FB3-481B-47B4-B831-A2703BB55BB7}" srcOrd="0" destOrd="4" presId="urn:microsoft.com/office/officeart/2018/2/layout/IconLabelDescriptionList"/>
    <dgm:cxn modelId="{4DAC49FE-9FEE-42CB-B527-ED4304A6CF3D}" type="presOf" srcId="{F46787E5-8DB5-4639-9D53-80F0D4F5D04D}" destId="{4C8B5919-EDCD-4D74-8EE7-249F89CC6CCA}" srcOrd="0" destOrd="6" presId="urn:microsoft.com/office/officeart/2018/2/layout/IconLabelDescriptionList"/>
    <dgm:cxn modelId="{D969AC3B-D69F-457A-952D-EDC6E09E7150}" type="presParOf" srcId="{747424FB-0AA1-4903-9A54-7D6048588BDC}" destId="{75566EE1-AA01-455E-A8FE-B9999EEC9DF1}" srcOrd="0" destOrd="0" presId="urn:microsoft.com/office/officeart/2018/2/layout/IconLabelDescriptionList"/>
    <dgm:cxn modelId="{D89B39DF-1913-4815-B967-659E1D532388}" type="presParOf" srcId="{75566EE1-AA01-455E-A8FE-B9999EEC9DF1}" destId="{8265D0B4-2218-4ED8-B3C4-9DCD22695568}" srcOrd="0" destOrd="0" presId="urn:microsoft.com/office/officeart/2018/2/layout/IconLabelDescriptionList"/>
    <dgm:cxn modelId="{0266B29E-97A7-47E8-9069-C62FF8C72C01}" type="presParOf" srcId="{75566EE1-AA01-455E-A8FE-B9999EEC9DF1}" destId="{010AE673-F0F8-464E-B752-41431D6517AA}" srcOrd="1" destOrd="0" presId="urn:microsoft.com/office/officeart/2018/2/layout/IconLabelDescriptionList"/>
    <dgm:cxn modelId="{2473D2D4-1969-46EB-936E-28218E7F93A1}" type="presParOf" srcId="{75566EE1-AA01-455E-A8FE-B9999EEC9DF1}" destId="{D9618C62-5347-495A-8BF1-E2DF8C9051F6}" srcOrd="2" destOrd="0" presId="urn:microsoft.com/office/officeart/2018/2/layout/IconLabelDescriptionList"/>
    <dgm:cxn modelId="{60E147F7-7475-433E-B515-51E113B116C5}" type="presParOf" srcId="{75566EE1-AA01-455E-A8FE-B9999EEC9DF1}" destId="{07868F43-CAC6-4892-A02E-5166895C80BE}" srcOrd="3" destOrd="0" presId="urn:microsoft.com/office/officeart/2018/2/layout/IconLabelDescriptionList"/>
    <dgm:cxn modelId="{D44EA574-2B68-4BF9-8AD4-80B2963ED0E5}" type="presParOf" srcId="{75566EE1-AA01-455E-A8FE-B9999EEC9DF1}" destId="{4C8B5919-EDCD-4D74-8EE7-249F89CC6CCA}" srcOrd="4" destOrd="0" presId="urn:microsoft.com/office/officeart/2018/2/layout/IconLabelDescriptionList"/>
    <dgm:cxn modelId="{B826834A-69E3-46E4-A8EF-451BA1C03BA5}" type="presParOf" srcId="{747424FB-0AA1-4903-9A54-7D6048588BDC}" destId="{08AB0514-801F-4A95-99BB-7D2EFD79F123}" srcOrd="1" destOrd="0" presId="urn:microsoft.com/office/officeart/2018/2/layout/IconLabelDescriptionList"/>
    <dgm:cxn modelId="{DCBDA5FB-0EAE-4245-9873-E900BD41B2F1}" type="presParOf" srcId="{747424FB-0AA1-4903-9A54-7D6048588BDC}" destId="{A9D74FCA-4F0A-467E-B300-8229B8B6B6AC}" srcOrd="2" destOrd="0" presId="urn:microsoft.com/office/officeart/2018/2/layout/IconLabelDescriptionList"/>
    <dgm:cxn modelId="{0EBDD26A-747F-4964-A07B-0A446D96DB6A}" type="presParOf" srcId="{A9D74FCA-4F0A-467E-B300-8229B8B6B6AC}" destId="{41E93C6C-A67D-48EB-A27C-6CB03499252A}" srcOrd="0" destOrd="0" presId="urn:microsoft.com/office/officeart/2018/2/layout/IconLabelDescriptionList"/>
    <dgm:cxn modelId="{9C36E00E-455C-4F7A-9238-BB604DC5C117}" type="presParOf" srcId="{A9D74FCA-4F0A-467E-B300-8229B8B6B6AC}" destId="{436249D8-28C6-4706-AD39-16A395C465E7}" srcOrd="1" destOrd="0" presId="urn:microsoft.com/office/officeart/2018/2/layout/IconLabelDescriptionList"/>
    <dgm:cxn modelId="{32E97C81-EEA0-4822-B340-B9314E1D952C}" type="presParOf" srcId="{A9D74FCA-4F0A-467E-B300-8229B8B6B6AC}" destId="{A1410ED6-C1AA-485D-92A2-A24FFD80B5D1}" srcOrd="2" destOrd="0" presId="urn:microsoft.com/office/officeart/2018/2/layout/IconLabelDescriptionList"/>
    <dgm:cxn modelId="{2D6FF78D-5297-479E-ABB9-1DB90F6DEC0D}" type="presParOf" srcId="{A9D74FCA-4F0A-467E-B300-8229B8B6B6AC}" destId="{5F4F097F-1F81-4649-AC95-7E024D0BCD1C}" srcOrd="3" destOrd="0" presId="urn:microsoft.com/office/officeart/2018/2/layout/IconLabelDescriptionList"/>
    <dgm:cxn modelId="{DCF95594-A0B6-4A09-97A7-21109F21C47E}" type="presParOf" srcId="{A9D74FCA-4F0A-467E-B300-8229B8B6B6AC}" destId="{A6CC0FB3-481B-47B4-B831-A2703BB55BB7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A1A6D76-8A46-46FF-9C94-2784D49DE790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F747E27C-386F-4A5B-993D-0CE03CDD31EC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FC6D441E-188E-4640-9546-03954168A22A}" type="parTrans" cxnId="{FA3A1C39-1D40-4395-ACDA-9AFDFA176DF1}">
      <dgm:prSet/>
      <dgm:spPr/>
      <dgm:t>
        <a:bodyPr/>
        <a:lstStyle/>
        <a:p>
          <a:endParaRPr lang="en-US"/>
        </a:p>
      </dgm:t>
    </dgm:pt>
    <dgm:pt modelId="{A2B609B6-A1C8-43D9-B8B7-1C48F402BC24}" type="sibTrans" cxnId="{FA3A1C39-1D40-4395-ACDA-9AFDFA176DF1}">
      <dgm:prSet/>
      <dgm:spPr/>
      <dgm:t>
        <a:bodyPr/>
        <a:lstStyle/>
        <a:p>
          <a:endParaRPr lang="en-US"/>
        </a:p>
      </dgm:t>
    </dgm:pt>
    <dgm:pt modelId="{F29B4314-B235-47C4-9E18-85DBF2EBB029}">
      <dgm:prSet/>
      <dgm:spPr/>
      <dgm:t>
        <a:bodyPr/>
        <a:lstStyle/>
        <a:p>
          <a:r>
            <a:rPr lang="en-GB"/>
            <a:t>Can create workspace and update Editions of the workspace</a:t>
          </a:r>
          <a:endParaRPr lang="en-US"/>
        </a:p>
      </dgm:t>
    </dgm:pt>
    <dgm:pt modelId="{DBBD386D-73A2-48AE-BC58-E691912B7B04}" type="parTrans" cxnId="{DA1DA3EA-6BF4-4FE6-9243-9BA2ACF53C8A}">
      <dgm:prSet/>
      <dgm:spPr/>
      <dgm:t>
        <a:bodyPr/>
        <a:lstStyle/>
        <a:p>
          <a:endParaRPr lang="en-US"/>
        </a:p>
      </dgm:t>
    </dgm:pt>
    <dgm:pt modelId="{0676AAB2-091B-41EC-AB87-BC2488838331}" type="sibTrans" cxnId="{DA1DA3EA-6BF4-4FE6-9243-9BA2ACF53C8A}">
      <dgm:prSet/>
      <dgm:spPr/>
      <dgm:t>
        <a:bodyPr/>
        <a:lstStyle/>
        <a:p>
          <a:endParaRPr lang="en-US"/>
        </a:p>
      </dgm:t>
    </dgm:pt>
    <dgm:pt modelId="{F5EB7B2C-1C3F-4AEB-997D-FAB1D52550E1}">
      <dgm:prSet/>
      <dgm:spPr/>
      <dgm:t>
        <a:bodyPr/>
        <a:lstStyle/>
        <a:p>
          <a:r>
            <a:rPr lang="en-GB"/>
            <a:t>Can set workspace level quota</a:t>
          </a:r>
          <a:endParaRPr lang="en-US"/>
        </a:p>
      </dgm:t>
    </dgm:pt>
    <dgm:pt modelId="{735B2221-AB3C-438E-A85D-36C1A2E605A2}" type="parTrans" cxnId="{16A619E1-4819-4386-88B8-07E285F6F3F1}">
      <dgm:prSet/>
      <dgm:spPr/>
      <dgm:t>
        <a:bodyPr/>
        <a:lstStyle/>
        <a:p>
          <a:endParaRPr lang="en-US"/>
        </a:p>
      </dgm:t>
    </dgm:pt>
    <dgm:pt modelId="{3A09FA66-744C-4FE0-83E4-607CAC4F2757}" type="sibTrans" cxnId="{16A619E1-4819-4386-88B8-07E285F6F3F1}">
      <dgm:prSet/>
      <dgm:spPr/>
      <dgm:t>
        <a:bodyPr/>
        <a:lstStyle/>
        <a:p>
          <a:endParaRPr lang="en-US"/>
        </a:p>
      </dgm:t>
    </dgm:pt>
    <dgm:pt modelId="{6F190595-FC49-4E68-919A-94B35B4A0600}">
      <dgm:prSet/>
      <dgm:spPr/>
      <dgm:t>
        <a:bodyPr/>
        <a:lstStyle/>
        <a:p>
          <a:r>
            <a:rPr lang="en-GB"/>
            <a:t>Same as sub level admin (owner)</a:t>
          </a:r>
          <a:endParaRPr lang="en-US"/>
        </a:p>
      </dgm:t>
    </dgm:pt>
    <dgm:pt modelId="{124C7C5D-F1F6-44DC-9C74-5D873970C920}" type="parTrans" cxnId="{7746D815-BEEB-433B-876D-FA08C4B959D0}">
      <dgm:prSet/>
      <dgm:spPr/>
      <dgm:t>
        <a:bodyPr/>
        <a:lstStyle/>
        <a:p>
          <a:endParaRPr lang="en-US"/>
        </a:p>
      </dgm:t>
    </dgm:pt>
    <dgm:pt modelId="{0D511E8D-4A1F-478D-9B4C-2B46410C9AB2}" type="sibTrans" cxnId="{7746D815-BEEB-433B-876D-FA08C4B959D0}">
      <dgm:prSet/>
      <dgm:spPr/>
      <dgm:t>
        <a:bodyPr/>
        <a:lstStyle/>
        <a:p>
          <a:endParaRPr lang="en-US"/>
        </a:p>
      </dgm:t>
    </dgm:pt>
    <dgm:pt modelId="{EA0827E8-5620-49C4-A271-22CFEFE23901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F249AB21-C8A6-4E45-8660-13218C7438B1}" type="parTrans" cxnId="{48E07FE9-C0FA-427F-935B-74BAB21CF439}">
      <dgm:prSet/>
      <dgm:spPr/>
      <dgm:t>
        <a:bodyPr/>
        <a:lstStyle/>
        <a:p>
          <a:endParaRPr lang="en-US"/>
        </a:p>
      </dgm:t>
    </dgm:pt>
    <dgm:pt modelId="{43AB9E68-4C1C-4DF1-ACE4-81983200A9B5}" type="sibTrans" cxnId="{48E07FE9-C0FA-427F-935B-74BAB21CF439}">
      <dgm:prSet/>
      <dgm:spPr/>
      <dgm:t>
        <a:bodyPr/>
        <a:lstStyle/>
        <a:p>
          <a:endParaRPr lang="en-US"/>
        </a:p>
      </dgm:t>
    </dgm:pt>
    <dgm:pt modelId="{D3C630EE-3F69-46F4-A834-0AB5CD4C3B0D}">
      <dgm:prSet/>
      <dgm:spPr/>
      <dgm:t>
        <a:bodyPr/>
        <a:lstStyle/>
        <a:p>
          <a:r>
            <a:rPr lang="en-GB"/>
            <a:t>Rest are not allowed</a:t>
          </a:r>
          <a:endParaRPr lang="en-US"/>
        </a:p>
      </dgm:t>
    </dgm:pt>
    <dgm:pt modelId="{E0ECE21B-1CA8-488C-86DD-43A9360C8DD9}" type="parTrans" cxnId="{6CBF13F9-956D-45D0-80F9-5C52A92428BB}">
      <dgm:prSet/>
      <dgm:spPr/>
      <dgm:t>
        <a:bodyPr/>
        <a:lstStyle/>
        <a:p>
          <a:endParaRPr lang="en-US"/>
        </a:p>
      </dgm:t>
    </dgm:pt>
    <dgm:pt modelId="{C2F90285-161F-49D7-A857-78A148D38157}" type="sibTrans" cxnId="{6CBF13F9-956D-45D0-80F9-5C52A92428BB}">
      <dgm:prSet/>
      <dgm:spPr/>
      <dgm:t>
        <a:bodyPr/>
        <a:lstStyle/>
        <a:p>
          <a:endParaRPr lang="en-US"/>
        </a:p>
      </dgm:t>
    </dgm:pt>
    <dgm:pt modelId="{6A868B56-744E-4EC0-9B10-6D556DEC7582}" type="pres">
      <dgm:prSet presAssocID="{9A1A6D76-8A46-46FF-9C94-2784D49DE790}" presName="root" presStyleCnt="0">
        <dgm:presLayoutVars>
          <dgm:dir/>
          <dgm:resizeHandles val="exact"/>
        </dgm:presLayoutVars>
      </dgm:prSet>
      <dgm:spPr/>
    </dgm:pt>
    <dgm:pt modelId="{EC75932B-A3C3-4E55-B0CC-8053E4CAEC5B}" type="pres">
      <dgm:prSet presAssocID="{F747E27C-386F-4A5B-993D-0CE03CDD31EC}" presName="compNode" presStyleCnt="0"/>
      <dgm:spPr/>
    </dgm:pt>
    <dgm:pt modelId="{780EC6AB-D8B7-46FD-9A2A-A3A2FE0DEC71}" type="pres">
      <dgm:prSet presAssocID="{F747E27C-386F-4A5B-993D-0CE03CDD31EC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pen Folder"/>
        </a:ext>
      </dgm:extLst>
    </dgm:pt>
    <dgm:pt modelId="{E1DB9D53-AB39-442D-8AB3-96768840ACC7}" type="pres">
      <dgm:prSet presAssocID="{F747E27C-386F-4A5B-993D-0CE03CDD31EC}" presName="iconSpace" presStyleCnt="0"/>
      <dgm:spPr/>
    </dgm:pt>
    <dgm:pt modelId="{8604EF23-F52A-45D8-9347-D58A1D369952}" type="pres">
      <dgm:prSet presAssocID="{F747E27C-386F-4A5B-993D-0CE03CDD31EC}" presName="parTx" presStyleLbl="revTx" presStyleIdx="0" presStyleCnt="4">
        <dgm:presLayoutVars>
          <dgm:chMax val="0"/>
          <dgm:chPref val="0"/>
        </dgm:presLayoutVars>
      </dgm:prSet>
      <dgm:spPr/>
    </dgm:pt>
    <dgm:pt modelId="{F8C64156-CECA-4F3D-96F0-4A9E09AFEE2D}" type="pres">
      <dgm:prSet presAssocID="{F747E27C-386F-4A5B-993D-0CE03CDD31EC}" presName="txSpace" presStyleCnt="0"/>
      <dgm:spPr/>
    </dgm:pt>
    <dgm:pt modelId="{A604019E-D39B-41DC-8A6B-0EAC16647172}" type="pres">
      <dgm:prSet presAssocID="{F747E27C-386F-4A5B-993D-0CE03CDD31EC}" presName="desTx" presStyleLbl="revTx" presStyleIdx="1" presStyleCnt="4">
        <dgm:presLayoutVars/>
      </dgm:prSet>
      <dgm:spPr/>
    </dgm:pt>
    <dgm:pt modelId="{D48D8226-1164-40A8-A05E-1A90CEA0EE41}" type="pres">
      <dgm:prSet presAssocID="{A2B609B6-A1C8-43D9-B8B7-1C48F402BC24}" presName="sibTrans" presStyleCnt="0"/>
      <dgm:spPr/>
    </dgm:pt>
    <dgm:pt modelId="{2353A185-D863-4145-8616-FCE4D16F2697}" type="pres">
      <dgm:prSet presAssocID="{EA0827E8-5620-49C4-A271-22CFEFE23901}" presName="compNode" presStyleCnt="0"/>
      <dgm:spPr/>
    </dgm:pt>
    <dgm:pt modelId="{26DF998B-DFA5-41A2-AC55-3B43230F27E4}" type="pres">
      <dgm:prSet presAssocID="{EA0827E8-5620-49C4-A271-22CFEFE23901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o sign"/>
        </a:ext>
      </dgm:extLst>
    </dgm:pt>
    <dgm:pt modelId="{4F75E4CF-3C13-4097-8D31-9F1D49130E0F}" type="pres">
      <dgm:prSet presAssocID="{EA0827E8-5620-49C4-A271-22CFEFE23901}" presName="iconSpace" presStyleCnt="0"/>
      <dgm:spPr/>
    </dgm:pt>
    <dgm:pt modelId="{E680D621-EBF7-445E-BBE0-CC1C203837B6}" type="pres">
      <dgm:prSet presAssocID="{EA0827E8-5620-49C4-A271-22CFEFE23901}" presName="parTx" presStyleLbl="revTx" presStyleIdx="2" presStyleCnt="4">
        <dgm:presLayoutVars>
          <dgm:chMax val="0"/>
          <dgm:chPref val="0"/>
        </dgm:presLayoutVars>
      </dgm:prSet>
      <dgm:spPr/>
    </dgm:pt>
    <dgm:pt modelId="{AAF50A7C-6B09-4B3C-BCCF-95B617A185C8}" type="pres">
      <dgm:prSet presAssocID="{EA0827E8-5620-49C4-A271-22CFEFE23901}" presName="txSpace" presStyleCnt="0"/>
      <dgm:spPr/>
    </dgm:pt>
    <dgm:pt modelId="{B7D6D52A-EDA4-4196-BD8A-79FEC79A26A4}" type="pres">
      <dgm:prSet presAssocID="{EA0827E8-5620-49C4-A271-22CFEFE23901}" presName="desTx" presStyleLbl="revTx" presStyleIdx="3" presStyleCnt="4">
        <dgm:presLayoutVars/>
      </dgm:prSet>
      <dgm:spPr/>
    </dgm:pt>
  </dgm:ptLst>
  <dgm:cxnLst>
    <dgm:cxn modelId="{7746D815-BEEB-433B-876D-FA08C4B959D0}" srcId="{F747E27C-386F-4A5B-993D-0CE03CDD31EC}" destId="{6F190595-FC49-4E68-919A-94B35B4A0600}" srcOrd="2" destOrd="0" parTransId="{124C7C5D-F1F6-44DC-9C74-5D873970C920}" sibTransId="{0D511E8D-4A1F-478D-9B4C-2B46410C9AB2}"/>
    <dgm:cxn modelId="{A83CDB1C-CA55-49FB-8058-190198A4F059}" type="presOf" srcId="{6F190595-FC49-4E68-919A-94B35B4A0600}" destId="{A604019E-D39B-41DC-8A6B-0EAC16647172}" srcOrd="0" destOrd="2" presId="urn:microsoft.com/office/officeart/2018/2/layout/IconLabelDescriptionList"/>
    <dgm:cxn modelId="{FA3A1C39-1D40-4395-ACDA-9AFDFA176DF1}" srcId="{9A1A6D76-8A46-46FF-9C94-2784D49DE790}" destId="{F747E27C-386F-4A5B-993D-0CE03CDD31EC}" srcOrd="0" destOrd="0" parTransId="{FC6D441E-188E-4640-9546-03954168A22A}" sibTransId="{A2B609B6-A1C8-43D9-B8B7-1C48F402BC24}"/>
    <dgm:cxn modelId="{DC783041-9866-495A-9945-A4842265A83C}" type="presOf" srcId="{EA0827E8-5620-49C4-A271-22CFEFE23901}" destId="{E680D621-EBF7-445E-BBE0-CC1C203837B6}" srcOrd="0" destOrd="0" presId="urn:microsoft.com/office/officeart/2018/2/layout/IconLabelDescriptionList"/>
    <dgm:cxn modelId="{380B9E73-F458-44F8-90CD-95192B834485}" type="presOf" srcId="{D3C630EE-3F69-46F4-A834-0AB5CD4C3B0D}" destId="{B7D6D52A-EDA4-4196-BD8A-79FEC79A26A4}" srcOrd="0" destOrd="0" presId="urn:microsoft.com/office/officeart/2018/2/layout/IconLabelDescriptionList"/>
    <dgm:cxn modelId="{ADAD0FAC-3BB9-4EBE-88E3-56B60396ECC8}" type="presOf" srcId="{F5EB7B2C-1C3F-4AEB-997D-FAB1D52550E1}" destId="{A604019E-D39B-41DC-8A6B-0EAC16647172}" srcOrd="0" destOrd="1" presId="urn:microsoft.com/office/officeart/2018/2/layout/IconLabelDescriptionList"/>
    <dgm:cxn modelId="{92EF74AD-7862-450F-874E-CD3AC3063BC8}" type="presOf" srcId="{F747E27C-386F-4A5B-993D-0CE03CDD31EC}" destId="{8604EF23-F52A-45D8-9347-D58A1D369952}" srcOrd="0" destOrd="0" presId="urn:microsoft.com/office/officeart/2018/2/layout/IconLabelDescriptionList"/>
    <dgm:cxn modelId="{ECBAA7B6-1685-469A-A1EB-897382417A54}" type="presOf" srcId="{F29B4314-B235-47C4-9E18-85DBF2EBB029}" destId="{A604019E-D39B-41DC-8A6B-0EAC16647172}" srcOrd="0" destOrd="0" presId="urn:microsoft.com/office/officeart/2018/2/layout/IconLabelDescriptionList"/>
    <dgm:cxn modelId="{16A619E1-4819-4386-88B8-07E285F6F3F1}" srcId="{F747E27C-386F-4A5B-993D-0CE03CDD31EC}" destId="{F5EB7B2C-1C3F-4AEB-997D-FAB1D52550E1}" srcOrd="1" destOrd="0" parTransId="{735B2221-AB3C-438E-A85D-36C1A2E605A2}" sibTransId="{3A09FA66-744C-4FE0-83E4-607CAC4F2757}"/>
    <dgm:cxn modelId="{48E07FE9-C0FA-427F-935B-74BAB21CF439}" srcId="{9A1A6D76-8A46-46FF-9C94-2784D49DE790}" destId="{EA0827E8-5620-49C4-A271-22CFEFE23901}" srcOrd="1" destOrd="0" parTransId="{F249AB21-C8A6-4E45-8660-13218C7438B1}" sibTransId="{43AB9E68-4C1C-4DF1-ACE4-81983200A9B5}"/>
    <dgm:cxn modelId="{DA1DA3EA-6BF4-4FE6-9243-9BA2ACF53C8A}" srcId="{F747E27C-386F-4A5B-993D-0CE03CDD31EC}" destId="{F29B4314-B235-47C4-9E18-85DBF2EBB029}" srcOrd="0" destOrd="0" parTransId="{DBBD386D-73A2-48AE-BC58-E691912B7B04}" sibTransId="{0676AAB2-091B-41EC-AB87-BC2488838331}"/>
    <dgm:cxn modelId="{33CCB7F7-976A-4D04-9009-0E5EBC8D685E}" type="presOf" srcId="{9A1A6D76-8A46-46FF-9C94-2784D49DE790}" destId="{6A868B56-744E-4EC0-9B10-6D556DEC7582}" srcOrd="0" destOrd="0" presId="urn:microsoft.com/office/officeart/2018/2/layout/IconLabelDescriptionList"/>
    <dgm:cxn modelId="{6CBF13F9-956D-45D0-80F9-5C52A92428BB}" srcId="{EA0827E8-5620-49C4-A271-22CFEFE23901}" destId="{D3C630EE-3F69-46F4-A834-0AB5CD4C3B0D}" srcOrd="0" destOrd="0" parTransId="{E0ECE21B-1CA8-488C-86DD-43A9360C8DD9}" sibTransId="{C2F90285-161F-49D7-A857-78A148D38157}"/>
    <dgm:cxn modelId="{1437094A-5CCF-479A-811B-6BBB9805DFCB}" type="presParOf" srcId="{6A868B56-744E-4EC0-9B10-6D556DEC7582}" destId="{EC75932B-A3C3-4E55-B0CC-8053E4CAEC5B}" srcOrd="0" destOrd="0" presId="urn:microsoft.com/office/officeart/2018/2/layout/IconLabelDescriptionList"/>
    <dgm:cxn modelId="{96BDAC5E-5664-40EA-90EF-35E5FAC978CC}" type="presParOf" srcId="{EC75932B-A3C3-4E55-B0CC-8053E4CAEC5B}" destId="{780EC6AB-D8B7-46FD-9A2A-A3A2FE0DEC71}" srcOrd="0" destOrd="0" presId="urn:microsoft.com/office/officeart/2018/2/layout/IconLabelDescriptionList"/>
    <dgm:cxn modelId="{DE056CF6-A757-496B-B9B0-D96D52EFC601}" type="presParOf" srcId="{EC75932B-A3C3-4E55-B0CC-8053E4CAEC5B}" destId="{E1DB9D53-AB39-442D-8AB3-96768840ACC7}" srcOrd="1" destOrd="0" presId="urn:microsoft.com/office/officeart/2018/2/layout/IconLabelDescriptionList"/>
    <dgm:cxn modelId="{AE3F7CE5-C55E-4FAE-8D70-263661861F60}" type="presParOf" srcId="{EC75932B-A3C3-4E55-B0CC-8053E4CAEC5B}" destId="{8604EF23-F52A-45D8-9347-D58A1D369952}" srcOrd="2" destOrd="0" presId="urn:microsoft.com/office/officeart/2018/2/layout/IconLabelDescriptionList"/>
    <dgm:cxn modelId="{B4777F1F-56C5-47BF-9CFA-5725AC89D2A5}" type="presParOf" srcId="{EC75932B-A3C3-4E55-B0CC-8053E4CAEC5B}" destId="{F8C64156-CECA-4F3D-96F0-4A9E09AFEE2D}" srcOrd="3" destOrd="0" presId="urn:microsoft.com/office/officeart/2018/2/layout/IconLabelDescriptionList"/>
    <dgm:cxn modelId="{ED189CD6-2F69-4572-BF0E-43650BBE1736}" type="presParOf" srcId="{EC75932B-A3C3-4E55-B0CC-8053E4CAEC5B}" destId="{A604019E-D39B-41DC-8A6B-0EAC16647172}" srcOrd="4" destOrd="0" presId="urn:microsoft.com/office/officeart/2018/2/layout/IconLabelDescriptionList"/>
    <dgm:cxn modelId="{DB178CC9-F0FE-4E4F-8FAB-C520A905F77D}" type="presParOf" srcId="{6A868B56-744E-4EC0-9B10-6D556DEC7582}" destId="{D48D8226-1164-40A8-A05E-1A90CEA0EE41}" srcOrd="1" destOrd="0" presId="urn:microsoft.com/office/officeart/2018/2/layout/IconLabelDescriptionList"/>
    <dgm:cxn modelId="{18562E88-1743-4E97-BDDD-64E5E77AA028}" type="presParOf" srcId="{6A868B56-744E-4EC0-9B10-6D556DEC7582}" destId="{2353A185-D863-4145-8616-FCE4D16F2697}" srcOrd="2" destOrd="0" presId="urn:microsoft.com/office/officeart/2018/2/layout/IconLabelDescriptionList"/>
    <dgm:cxn modelId="{E2C1E339-504D-4467-BBAD-719085828C4F}" type="presParOf" srcId="{2353A185-D863-4145-8616-FCE4D16F2697}" destId="{26DF998B-DFA5-41A2-AC55-3B43230F27E4}" srcOrd="0" destOrd="0" presId="urn:microsoft.com/office/officeart/2018/2/layout/IconLabelDescriptionList"/>
    <dgm:cxn modelId="{0CF5EE32-A045-4893-99C6-185D11CBA9D5}" type="presParOf" srcId="{2353A185-D863-4145-8616-FCE4D16F2697}" destId="{4F75E4CF-3C13-4097-8D31-9F1D49130E0F}" srcOrd="1" destOrd="0" presId="urn:microsoft.com/office/officeart/2018/2/layout/IconLabelDescriptionList"/>
    <dgm:cxn modelId="{ADF3F60A-DAB3-4F84-9DBC-827B3672F5DE}" type="presParOf" srcId="{2353A185-D863-4145-8616-FCE4D16F2697}" destId="{E680D621-EBF7-445E-BBE0-CC1C203837B6}" srcOrd="2" destOrd="0" presId="urn:microsoft.com/office/officeart/2018/2/layout/IconLabelDescriptionList"/>
    <dgm:cxn modelId="{E5464960-5168-4BC0-A077-7269ACA3D7D0}" type="presParOf" srcId="{2353A185-D863-4145-8616-FCE4D16F2697}" destId="{AAF50A7C-6B09-4B3C-BCCF-95B617A185C8}" srcOrd="3" destOrd="0" presId="urn:microsoft.com/office/officeart/2018/2/layout/IconLabelDescriptionList"/>
    <dgm:cxn modelId="{CF291BEA-76C3-4F50-85CE-46074BEF035F}" type="presParOf" srcId="{2353A185-D863-4145-8616-FCE4D16F2697}" destId="{B7D6D52A-EDA4-4196-BD8A-79FEC79A26A4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1F94E39-9E09-461B-84CF-3509B06CF125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C1C45E13-A77B-444A-9CBD-E5E2FE285CB5}">
      <dgm:prSet/>
      <dgm:spPr/>
      <dgm:t>
        <a:bodyPr/>
        <a:lstStyle/>
        <a:p>
          <a:pPr>
            <a:defRPr b="1"/>
          </a:pPr>
          <a:r>
            <a:rPr lang="en-US"/>
            <a:t>Allowed</a:t>
          </a:r>
        </a:p>
      </dgm:t>
    </dgm:pt>
    <dgm:pt modelId="{DD097474-30E8-47AE-BBE2-7F476B4AF53A}" type="parTrans" cxnId="{342495C8-2745-4BAC-8F63-31039DBE59DF}">
      <dgm:prSet/>
      <dgm:spPr/>
      <dgm:t>
        <a:bodyPr/>
        <a:lstStyle/>
        <a:p>
          <a:endParaRPr lang="en-US"/>
        </a:p>
      </dgm:t>
    </dgm:pt>
    <dgm:pt modelId="{22561B1B-71BB-4709-AE0B-F3DC723A3C3C}" type="sibTrans" cxnId="{342495C8-2745-4BAC-8F63-31039DBE59DF}">
      <dgm:prSet/>
      <dgm:spPr/>
      <dgm:t>
        <a:bodyPr/>
        <a:lstStyle/>
        <a:p>
          <a:endParaRPr lang="en-US"/>
        </a:p>
      </dgm:t>
    </dgm:pt>
    <dgm:pt modelId="{7B2F1488-2A11-4CD4-B054-2AA2E4081B03}">
      <dgm:prSet/>
      <dgm:spPr/>
      <dgm:t>
        <a:bodyPr/>
        <a:lstStyle/>
        <a:p>
          <a:r>
            <a:rPr lang="en-GB" dirty="0"/>
            <a:t>Can create a new workspace and also use an existing workspace created by the subscription admin</a:t>
          </a:r>
          <a:endParaRPr lang="en-US" dirty="0"/>
        </a:p>
      </dgm:t>
    </dgm:pt>
    <dgm:pt modelId="{C5F24D62-D276-4DFD-870E-B8A6AD305620}" type="parTrans" cxnId="{448FFD33-7869-416C-85D7-024C285A054E}">
      <dgm:prSet/>
      <dgm:spPr/>
      <dgm:t>
        <a:bodyPr/>
        <a:lstStyle/>
        <a:p>
          <a:endParaRPr lang="en-US"/>
        </a:p>
      </dgm:t>
    </dgm:pt>
    <dgm:pt modelId="{DAE911E9-7990-4E5C-821F-8120AC1EF7B6}" type="sibTrans" cxnId="{448FFD33-7869-416C-85D7-024C285A054E}">
      <dgm:prSet/>
      <dgm:spPr/>
      <dgm:t>
        <a:bodyPr/>
        <a:lstStyle/>
        <a:p>
          <a:endParaRPr lang="en-US"/>
        </a:p>
      </dgm:t>
    </dgm:pt>
    <dgm:pt modelId="{200DBFA8-86F5-4ADC-B999-7E2FC8F45A8E}">
      <dgm:prSet/>
      <dgm:spPr/>
      <dgm:t>
        <a:bodyPr/>
        <a:lstStyle/>
        <a:p>
          <a:r>
            <a:rPr lang="en-GB"/>
            <a:t>Can view workspace and subscription level quota allocated for that workspace</a:t>
          </a:r>
          <a:endParaRPr lang="en-US"/>
        </a:p>
      </dgm:t>
    </dgm:pt>
    <dgm:pt modelId="{53BD5ABF-2496-4536-AC6E-E2787A55E9C0}" type="parTrans" cxnId="{49BAF8BB-3D8A-4A43-A5B7-00BC03E6FC1E}">
      <dgm:prSet/>
      <dgm:spPr/>
      <dgm:t>
        <a:bodyPr/>
        <a:lstStyle/>
        <a:p>
          <a:endParaRPr lang="en-US"/>
        </a:p>
      </dgm:t>
    </dgm:pt>
    <dgm:pt modelId="{171ED12E-B330-4639-A303-493A6DE32870}" type="sibTrans" cxnId="{49BAF8BB-3D8A-4A43-A5B7-00BC03E6FC1E}">
      <dgm:prSet/>
      <dgm:spPr/>
      <dgm:t>
        <a:bodyPr/>
        <a:lstStyle/>
        <a:p>
          <a:endParaRPr lang="en-US"/>
        </a:p>
      </dgm:t>
    </dgm:pt>
    <dgm:pt modelId="{6401407A-9044-44BA-8700-0FD9FD3328C6}">
      <dgm:prSet/>
      <dgm:spPr/>
      <dgm:t>
        <a:bodyPr/>
        <a:lstStyle/>
        <a:p>
          <a:r>
            <a:rPr lang="en-GB"/>
            <a:t>Can create new compute within the bounds of the workspace level quota that the sub admin set on their workspace</a:t>
          </a:r>
          <a:endParaRPr lang="en-US"/>
        </a:p>
      </dgm:t>
    </dgm:pt>
    <dgm:pt modelId="{B73CAA69-F1B0-4D03-8B74-BC80C469BF29}" type="parTrans" cxnId="{DEF04AA6-310C-4DF5-A2E8-B1AA6054D9FF}">
      <dgm:prSet/>
      <dgm:spPr/>
      <dgm:t>
        <a:bodyPr/>
        <a:lstStyle/>
        <a:p>
          <a:endParaRPr lang="en-US"/>
        </a:p>
      </dgm:t>
    </dgm:pt>
    <dgm:pt modelId="{CD80B6B3-E557-44EC-BD00-875496F11BAB}" type="sibTrans" cxnId="{DEF04AA6-310C-4DF5-A2E8-B1AA6054D9FF}">
      <dgm:prSet/>
      <dgm:spPr/>
      <dgm:t>
        <a:bodyPr/>
        <a:lstStyle/>
        <a:p>
          <a:endParaRPr lang="en-US"/>
        </a:p>
      </dgm:t>
    </dgm:pt>
    <dgm:pt modelId="{E557A1BE-BE0A-4974-AF31-E0D0068C4592}">
      <dgm:prSet/>
      <dgm:spPr/>
      <dgm:t>
        <a:bodyPr/>
        <a:lstStyle/>
        <a:p>
          <a:r>
            <a:rPr lang="en-GB"/>
            <a:t>Can do all data plane operations within the workspace that are part of a data scientists lifecycle</a:t>
          </a:r>
          <a:endParaRPr lang="en-US"/>
        </a:p>
      </dgm:t>
    </dgm:pt>
    <dgm:pt modelId="{A869BEF7-2821-4343-B36A-B1CB36C3BC51}" type="parTrans" cxnId="{4B0DAED0-60D9-4E56-8251-604E753AC098}">
      <dgm:prSet/>
      <dgm:spPr/>
      <dgm:t>
        <a:bodyPr/>
        <a:lstStyle/>
        <a:p>
          <a:endParaRPr lang="en-US"/>
        </a:p>
      </dgm:t>
    </dgm:pt>
    <dgm:pt modelId="{97B010E2-2DF9-4397-AE33-12A434D89A9F}" type="sibTrans" cxnId="{4B0DAED0-60D9-4E56-8251-604E753AC098}">
      <dgm:prSet/>
      <dgm:spPr/>
      <dgm:t>
        <a:bodyPr/>
        <a:lstStyle/>
        <a:p>
          <a:endParaRPr lang="en-US"/>
        </a:p>
      </dgm:t>
    </dgm:pt>
    <dgm:pt modelId="{E65FFEA0-BCF4-4A35-8498-F67A71606489}">
      <dgm:prSet/>
      <dgm:spPr/>
      <dgm:t>
        <a:bodyPr/>
        <a:lstStyle/>
        <a:p>
          <a:r>
            <a:rPr lang="en-GB"/>
            <a:t>Can create a compute instance and assign it to a specific data scientist as a personal compute instance</a:t>
          </a:r>
          <a:endParaRPr lang="en-US"/>
        </a:p>
      </dgm:t>
    </dgm:pt>
    <dgm:pt modelId="{D73BD2FF-C892-4645-B2AF-9E659BFD8579}" type="parTrans" cxnId="{B42C20E7-EC48-4068-B3B3-3F3E5811CF4D}">
      <dgm:prSet/>
      <dgm:spPr/>
      <dgm:t>
        <a:bodyPr/>
        <a:lstStyle/>
        <a:p>
          <a:endParaRPr lang="en-US"/>
        </a:p>
      </dgm:t>
    </dgm:pt>
    <dgm:pt modelId="{9AD22FC9-4649-4F62-837A-60F63DE1D2ED}" type="sibTrans" cxnId="{B42C20E7-EC48-4068-B3B3-3F3E5811CF4D}">
      <dgm:prSet/>
      <dgm:spPr/>
      <dgm:t>
        <a:bodyPr/>
        <a:lstStyle/>
        <a:p>
          <a:endParaRPr lang="en-US"/>
        </a:p>
      </dgm:t>
    </dgm:pt>
    <dgm:pt modelId="{08055DCC-5800-4BFE-A868-E350424FB4D9}">
      <dgm:prSet/>
      <dgm:spPr/>
      <dgm:t>
        <a:bodyPr/>
        <a:lstStyle/>
        <a:p>
          <a:pPr>
            <a:defRPr b="1"/>
          </a:pPr>
          <a:r>
            <a:rPr lang="en-GB"/>
            <a:t>Not allowed</a:t>
          </a:r>
          <a:endParaRPr lang="en-US"/>
        </a:p>
      </dgm:t>
    </dgm:pt>
    <dgm:pt modelId="{1CCC467F-F159-4DC6-B7D4-8B5837A91825}" type="parTrans" cxnId="{993960AF-7331-4DCE-B0BA-C0E36F3BD185}">
      <dgm:prSet/>
      <dgm:spPr/>
      <dgm:t>
        <a:bodyPr/>
        <a:lstStyle/>
        <a:p>
          <a:endParaRPr lang="en-US"/>
        </a:p>
      </dgm:t>
    </dgm:pt>
    <dgm:pt modelId="{81F63F89-7D30-429E-A9F0-0A2E4697E5FC}" type="sibTrans" cxnId="{993960AF-7331-4DCE-B0BA-C0E36F3BD185}">
      <dgm:prSet/>
      <dgm:spPr/>
      <dgm:t>
        <a:bodyPr/>
        <a:lstStyle/>
        <a:p>
          <a:endParaRPr lang="en-US"/>
        </a:p>
      </dgm:t>
    </dgm:pt>
    <dgm:pt modelId="{302229E0-2009-48EA-B853-D2179C7A27BD}">
      <dgm:prSet/>
      <dgm:spPr/>
      <dgm:t>
        <a:bodyPr/>
        <a:lstStyle/>
        <a:p>
          <a:r>
            <a:rPr lang="en-GB"/>
            <a:t>Cannot create new roles but can assign users specific roles within that workspace </a:t>
          </a:r>
          <a:endParaRPr lang="en-US"/>
        </a:p>
      </dgm:t>
    </dgm:pt>
    <dgm:pt modelId="{AB0DAE49-1986-4CF1-AFA1-C056BBCC2FAB}" type="parTrans" cxnId="{7AB9B794-6AF3-4414-90AD-BDE6403E0EFD}">
      <dgm:prSet/>
      <dgm:spPr/>
      <dgm:t>
        <a:bodyPr/>
        <a:lstStyle/>
        <a:p>
          <a:endParaRPr lang="en-US"/>
        </a:p>
      </dgm:t>
    </dgm:pt>
    <dgm:pt modelId="{69A9AE9B-3E2D-4A95-9365-B5D858A23E58}" type="sibTrans" cxnId="{7AB9B794-6AF3-4414-90AD-BDE6403E0EFD}">
      <dgm:prSet/>
      <dgm:spPr/>
      <dgm:t>
        <a:bodyPr/>
        <a:lstStyle/>
        <a:p>
          <a:endParaRPr lang="en-US"/>
        </a:p>
      </dgm:t>
    </dgm:pt>
    <dgm:pt modelId="{3D21B55B-6A57-4895-959D-9030577C9CE6}" type="pres">
      <dgm:prSet presAssocID="{51F94E39-9E09-461B-84CF-3509B06CF125}" presName="root" presStyleCnt="0">
        <dgm:presLayoutVars>
          <dgm:dir/>
          <dgm:resizeHandles val="exact"/>
        </dgm:presLayoutVars>
      </dgm:prSet>
      <dgm:spPr/>
    </dgm:pt>
    <dgm:pt modelId="{EC8D250D-4309-43C4-AFF7-B2E96605BFBD}" type="pres">
      <dgm:prSet presAssocID="{C1C45E13-A77B-444A-9CBD-E5E2FE285CB5}" presName="compNode" presStyleCnt="0"/>
      <dgm:spPr/>
    </dgm:pt>
    <dgm:pt modelId="{20B60723-AF91-47CD-8618-13662433AFA5}" type="pres">
      <dgm:prSet presAssocID="{C1C45E13-A77B-444A-9CBD-E5E2FE285CB5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pen Folder"/>
        </a:ext>
      </dgm:extLst>
    </dgm:pt>
    <dgm:pt modelId="{896327B4-C7CB-42A4-918F-48A5A3AA8E8C}" type="pres">
      <dgm:prSet presAssocID="{C1C45E13-A77B-444A-9CBD-E5E2FE285CB5}" presName="iconSpace" presStyleCnt="0"/>
      <dgm:spPr/>
    </dgm:pt>
    <dgm:pt modelId="{7A4AAF6D-3630-4032-9CC4-D3E9CF7EA5DC}" type="pres">
      <dgm:prSet presAssocID="{C1C45E13-A77B-444A-9CBD-E5E2FE285CB5}" presName="parTx" presStyleLbl="revTx" presStyleIdx="0" presStyleCnt="4">
        <dgm:presLayoutVars>
          <dgm:chMax val="0"/>
          <dgm:chPref val="0"/>
        </dgm:presLayoutVars>
      </dgm:prSet>
      <dgm:spPr/>
    </dgm:pt>
    <dgm:pt modelId="{0075F8B0-1FB3-431A-BB03-8A6F4398BCAF}" type="pres">
      <dgm:prSet presAssocID="{C1C45E13-A77B-444A-9CBD-E5E2FE285CB5}" presName="txSpace" presStyleCnt="0"/>
      <dgm:spPr/>
    </dgm:pt>
    <dgm:pt modelId="{937AE8EB-5C0A-4C49-A3C3-07CBBD828146}" type="pres">
      <dgm:prSet presAssocID="{C1C45E13-A77B-444A-9CBD-E5E2FE285CB5}" presName="desTx" presStyleLbl="revTx" presStyleIdx="1" presStyleCnt="4">
        <dgm:presLayoutVars/>
      </dgm:prSet>
      <dgm:spPr/>
    </dgm:pt>
    <dgm:pt modelId="{DCFB966E-CE06-494D-801A-C54BC2355B00}" type="pres">
      <dgm:prSet presAssocID="{22561B1B-71BB-4709-AE0B-F3DC723A3C3C}" presName="sibTrans" presStyleCnt="0"/>
      <dgm:spPr/>
    </dgm:pt>
    <dgm:pt modelId="{485191CC-F900-4D8C-A248-65EB67130D1C}" type="pres">
      <dgm:prSet presAssocID="{08055DCC-5800-4BFE-A868-E350424FB4D9}" presName="compNode" presStyleCnt="0"/>
      <dgm:spPr/>
    </dgm:pt>
    <dgm:pt modelId="{12783C41-13AC-420C-B410-A8C678E82F4B}" type="pres">
      <dgm:prSet presAssocID="{08055DCC-5800-4BFE-A868-E350424FB4D9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99C312D8-E0C9-43F5-A127-3F00D0C79D21}" type="pres">
      <dgm:prSet presAssocID="{08055DCC-5800-4BFE-A868-E350424FB4D9}" presName="iconSpace" presStyleCnt="0"/>
      <dgm:spPr/>
    </dgm:pt>
    <dgm:pt modelId="{837AA6D7-D005-4958-B0BB-E18368AD626C}" type="pres">
      <dgm:prSet presAssocID="{08055DCC-5800-4BFE-A868-E350424FB4D9}" presName="parTx" presStyleLbl="revTx" presStyleIdx="2" presStyleCnt="4">
        <dgm:presLayoutVars>
          <dgm:chMax val="0"/>
          <dgm:chPref val="0"/>
        </dgm:presLayoutVars>
      </dgm:prSet>
      <dgm:spPr/>
    </dgm:pt>
    <dgm:pt modelId="{9BAF33EE-52BB-420C-BF55-A1A0131FC11A}" type="pres">
      <dgm:prSet presAssocID="{08055DCC-5800-4BFE-A868-E350424FB4D9}" presName="txSpace" presStyleCnt="0"/>
      <dgm:spPr/>
    </dgm:pt>
    <dgm:pt modelId="{D09DD10E-F03A-46A8-87A1-3AC47F3BFD65}" type="pres">
      <dgm:prSet presAssocID="{08055DCC-5800-4BFE-A868-E350424FB4D9}" presName="desTx" presStyleLbl="revTx" presStyleIdx="3" presStyleCnt="4">
        <dgm:presLayoutVars/>
      </dgm:prSet>
      <dgm:spPr/>
    </dgm:pt>
  </dgm:ptLst>
  <dgm:cxnLst>
    <dgm:cxn modelId="{D452AE18-42B3-4719-9FCE-23E71B76D918}" type="presOf" srcId="{200DBFA8-86F5-4ADC-B999-7E2FC8F45A8E}" destId="{937AE8EB-5C0A-4C49-A3C3-07CBBD828146}" srcOrd="0" destOrd="1" presId="urn:microsoft.com/office/officeart/2018/2/layout/IconLabelDescriptionList"/>
    <dgm:cxn modelId="{1F8EE626-EC1B-4A27-B742-A035404A5BF3}" type="presOf" srcId="{08055DCC-5800-4BFE-A868-E350424FB4D9}" destId="{837AA6D7-D005-4958-B0BB-E18368AD626C}" srcOrd="0" destOrd="0" presId="urn:microsoft.com/office/officeart/2018/2/layout/IconLabelDescriptionList"/>
    <dgm:cxn modelId="{448FFD33-7869-416C-85D7-024C285A054E}" srcId="{C1C45E13-A77B-444A-9CBD-E5E2FE285CB5}" destId="{7B2F1488-2A11-4CD4-B054-2AA2E4081B03}" srcOrd="0" destOrd="0" parTransId="{C5F24D62-D276-4DFD-870E-B8A6AD305620}" sibTransId="{DAE911E9-7990-4E5C-821F-8120AC1EF7B6}"/>
    <dgm:cxn modelId="{1BFBD867-5AA5-4D28-A095-D7FEAF22E861}" type="presOf" srcId="{6401407A-9044-44BA-8700-0FD9FD3328C6}" destId="{937AE8EB-5C0A-4C49-A3C3-07CBBD828146}" srcOrd="0" destOrd="2" presId="urn:microsoft.com/office/officeart/2018/2/layout/IconLabelDescriptionList"/>
    <dgm:cxn modelId="{3EA52C88-C70E-4161-9ED8-79DC41F5AA21}" type="presOf" srcId="{C1C45E13-A77B-444A-9CBD-E5E2FE285CB5}" destId="{7A4AAF6D-3630-4032-9CC4-D3E9CF7EA5DC}" srcOrd="0" destOrd="0" presId="urn:microsoft.com/office/officeart/2018/2/layout/IconLabelDescriptionList"/>
    <dgm:cxn modelId="{7AB9B794-6AF3-4414-90AD-BDE6403E0EFD}" srcId="{08055DCC-5800-4BFE-A868-E350424FB4D9}" destId="{302229E0-2009-48EA-B853-D2179C7A27BD}" srcOrd="0" destOrd="0" parTransId="{AB0DAE49-1986-4CF1-AFA1-C056BBCC2FAB}" sibTransId="{69A9AE9B-3E2D-4A95-9365-B5D858A23E58}"/>
    <dgm:cxn modelId="{DEF04AA6-310C-4DF5-A2E8-B1AA6054D9FF}" srcId="{C1C45E13-A77B-444A-9CBD-E5E2FE285CB5}" destId="{6401407A-9044-44BA-8700-0FD9FD3328C6}" srcOrd="2" destOrd="0" parTransId="{B73CAA69-F1B0-4D03-8B74-BC80C469BF29}" sibTransId="{CD80B6B3-E557-44EC-BD00-875496F11BAB}"/>
    <dgm:cxn modelId="{9860E1A9-BC6D-4021-8337-4A254FA227D3}" type="presOf" srcId="{E65FFEA0-BCF4-4A35-8498-F67A71606489}" destId="{937AE8EB-5C0A-4C49-A3C3-07CBBD828146}" srcOrd="0" destOrd="4" presId="urn:microsoft.com/office/officeart/2018/2/layout/IconLabelDescriptionList"/>
    <dgm:cxn modelId="{993960AF-7331-4DCE-B0BA-C0E36F3BD185}" srcId="{51F94E39-9E09-461B-84CF-3509B06CF125}" destId="{08055DCC-5800-4BFE-A868-E350424FB4D9}" srcOrd="1" destOrd="0" parTransId="{1CCC467F-F159-4DC6-B7D4-8B5837A91825}" sibTransId="{81F63F89-7D30-429E-A9F0-0A2E4697E5FC}"/>
    <dgm:cxn modelId="{595F65AF-F540-4A55-89C1-8748834356DF}" type="presOf" srcId="{E557A1BE-BE0A-4974-AF31-E0D0068C4592}" destId="{937AE8EB-5C0A-4C49-A3C3-07CBBD828146}" srcOrd="0" destOrd="3" presId="urn:microsoft.com/office/officeart/2018/2/layout/IconLabelDescriptionList"/>
    <dgm:cxn modelId="{49BAF8BB-3D8A-4A43-A5B7-00BC03E6FC1E}" srcId="{C1C45E13-A77B-444A-9CBD-E5E2FE285CB5}" destId="{200DBFA8-86F5-4ADC-B999-7E2FC8F45A8E}" srcOrd="1" destOrd="0" parTransId="{53BD5ABF-2496-4536-AC6E-E2787A55E9C0}" sibTransId="{171ED12E-B330-4639-A303-493A6DE32870}"/>
    <dgm:cxn modelId="{E98DD0C7-FF08-446B-989B-39D9CE63AA55}" type="presOf" srcId="{51F94E39-9E09-461B-84CF-3509B06CF125}" destId="{3D21B55B-6A57-4895-959D-9030577C9CE6}" srcOrd="0" destOrd="0" presId="urn:microsoft.com/office/officeart/2018/2/layout/IconLabelDescriptionList"/>
    <dgm:cxn modelId="{342495C8-2745-4BAC-8F63-31039DBE59DF}" srcId="{51F94E39-9E09-461B-84CF-3509B06CF125}" destId="{C1C45E13-A77B-444A-9CBD-E5E2FE285CB5}" srcOrd="0" destOrd="0" parTransId="{DD097474-30E8-47AE-BBE2-7F476B4AF53A}" sibTransId="{22561B1B-71BB-4709-AE0B-F3DC723A3C3C}"/>
    <dgm:cxn modelId="{4B0DAED0-60D9-4E56-8251-604E753AC098}" srcId="{C1C45E13-A77B-444A-9CBD-E5E2FE285CB5}" destId="{E557A1BE-BE0A-4974-AF31-E0D0068C4592}" srcOrd="3" destOrd="0" parTransId="{A869BEF7-2821-4343-B36A-B1CB36C3BC51}" sibTransId="{97B010E2-2DF9-4397-AE33-12A434D89A9F}"/>
    <dgm:cxn modelId="{C8F63FD3-5F93-4548-BA36-D0D52B8EDEE9}" type="presOf" srcId="{7B2F1488-2A11-4CD4-B054-2AA2E4081B03}" destId="{937AE8EB-5C0A-4C49-A3C3-07CBBD828146}" srcOrd="0" destOrd="0" presId="urn:microsoft.com/office/officeart/2018/2/layout/IconLabelDescriptionList"/>
    <dgm:cxn modelId="{B42C20E7-EC48-4068-B3B3-3F3E5811CF4D}" srcId="{C1C45E13-A77B-444A-9CBD-E5E2FE285CB5}" destId="{E65FFEA0-BCF4-4A35-8498-F67A71606489}" srcOrd="4" destOrd="0" parTransId="{D73BD2FF-C892-4645-B2AF-9E659BFD8579}" sibTransId="{9AD22FC9-4649-4F62-837A-60F63DE1D2ED}"/>
    <dgm:cxn modelId="{86AF28F0-985A-4C5E-8597-8E91333A1412}" type="presOf" srcId="{302229E0-2009-48EA-B853-D2179C7A27BD}" destId="{D09DD10E-F03A-46A8-87A1-3AC47F3BFD65}" srcOrd="0" destOrd="0" presId="urn:microsoft.com/office/officeart/2018/2/layout/IconLabelDescriptionList"/>
    <dgm:cxn modelId="{43E3B03A-DCBE-46AA-A141-BC479547AC24}" type="presParOf" srcId="{3D21B55B-6A57-4895-959D-9030577C9CE6}" destId="{EC8D250D-4309-43C4-AFF7-B2E96605BFBD}" srcOrd="0" destOrd="0" presId="urn:microsoft.com/office/officeart/2018/2/layout/IconLabelDescriptionList"/>
    <dgm:cxn modelId="{E69DB3B0-142E-402F-A83F-0017D3B55C5A}" type="presParOf" srcId="{EC8D250D-4309-43C4-AFF7-B2E96605BFBD}" destId="{20B60723-AF91-47CD-8618-13662433AFA5}" srcOrd="0" destOrd="0" presId="urn:microsoft.com/office/officeart/2018/2/layout/IconLabelDescriptionList"/>
    <dgm:cxn modelId="{82E6FF83-ADFA-4D16-B527-392B295F60F7}" type="presParOf" srcId="{EC8D250D-4309-43C4-AFF7-B2E96605BFBD}" destId="{896327B4-C7CB-42A4-918F-48A5A3AA8E8C}" srcOrd="1" destOrd="0" presId="urn:microsoft.com/office/officeart/2018/2/layout/IconLabelDescriptionList"/>
    <dgm:cxn modelId="{CA34B1C8-FDD8-4B11-95C6-331FFF2B40C9}" type="presParOf" srcId="{EC8D250D-4309-43C4-AFF7-B2E96605BFBD}" destId="{7A4AAF6D-3630-4032-9CC4-D3E9CF7EA5DC}" srcOrd="2" destOrd="0" presId="urn:microsoft.com/office/officeart/2018/2/layout/IconLabelDescriptionList"/>
    <dgm:cxn modelId="{D6FE7B85-7AD1-4402-8E55-8B884DB55FE0}" type="presParOf" srcId="{EC8D250D-4309-43C4-AFF7-B2E96605BFBD}" destId="{0075F8B0-1FB3-431A-BB03-8A6F4398BCAF}" srcOrd="3" destOrd="0" presId="urn:microsoft.com/office/officeart/2018/2/layout/IconLabelDescriptionList"/>
    <dgm:cxn modelId="{81D026ED-87AC-4CC1-9874-C5B7483E83DE}" type="presParOf" srcId="{EC8D250D-4309-43C4-AFF7-B2E96605BFBD}" destId="{937AE8EB-5C0A-4C49-A3C3-07CBBD828146}" srcOrd="4" destOrd="0" presId="urn:microsoft.com/office/officeart/2018/2/layout/IconLabelDescriptionList"/>
    <dgm:cxn modelId="{EB69DE5A-6D2C-4C73-8C42-787650180C82}" type="presParOf" srcId="{3D21B55B-6A57-4895-959D-9030577C9CE6}" destId="{DCFB966E-CE06-494D-801A-C54BC2355B00}" srcOrd="1" destOrd="0" presId="urn:microsoft.com/office/officeart/2018/2/layout/IconLabelDescriptionList"/>
    <dgm:cxn modelId="{A66C37FB-8C93-4769-9D99-6A0E8943F955}" type="presParOf" srcId="{3D21B55B-6A57-4895-959D-9030577C9CE6}" destId="{485191CC-F900-4D8C-A248-65EB67130D1C}" srcOrd="2" destOrd="0" presId="urn:microsoft.com/office/officeart/2018/2/layout/IconLabelDescriptionList"/>
    <dgm:cxn modelId="{1A6C9942-22B2-4383-A33B-1E891CABBBD6}" type="presParOf" srcId="{485191CC-F900-4D8C-A248-65EB67130D1C}" destId="{12783C41-13AC-420C-B410-A8C678E82F4B}" srcOrd="0" destOrd="0" presId="urn:microsoft.com/office/officeart/2018/2/layout/IconLabelDescriptionList"/>
    <dgm:cxn modelId="{04825461-E78B-4289-9B30-0A3A9714CBF6}" type="presParOf" srcId="{485191CC-F900-4D8C-A248-65EB67130D1C}" destId="{99C312D8-E0C9-43F5-A127-3F00D0C79D21}" srcOrd="1" destOrd="0" presId="urn:microsoft.com/office/officeart/2018/2/layout/IconLabelDescriptionList"/>
    <dgm:cxn modelId="{21574178-7721-4F27-B344-0ACD9E3BDD05}" type="presParOf" srcId="{485191CC-F900-4D8C-A248-65EB67130D1C}" destId="{837AA6D7-D005-4958-B0BB-E18368AD626C}" srcOrd="2" destOrd="0" presId="urn:microsoft.com/office/officeart/2018/2/layout/IconLabelDescriptionList"/>
    <dgm:cxn modelId="{6E9E3D51-A9C9-40DD-BC7A-F1B1C86C51C5}" type="presParOf" srcId="{485191CC-F900-4D8C-A248-65EB67130D1C}" destId="{9BAF33EE-52BB-420C-BF55-A1A0131FC11A}" srcOrd="3" destOrd="0" presId="urn:microsoft.com/office/officeart/2018/2/layout/IconLabelDescriptionList"/>
    <dgm:cxn modelId="{BE8DB82D-422C-4F2C-90A4-A43F5751C888}" type="presParOf" srcId="{485191CC-F900-4D8C-A248-65EB67130D1C}" destId="{D09DD10E-F03A-46A8-87A1-3AC47F3BFD65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52DE80-0F06-4F47-9CE0-4242CE3208EC}">
      <dsp:nvSpPr>
        <dsp:cNvPr id="0" name=""/>
        <dsp:cNvSpPr/>
      </dsp:nvSpPr>
      <dsp:spPr>
        <a:xfrm rot="10800000">
          <a:off x="3493074" y="0"/>
          <a:ext cx="6780673" cy="1101518"/>
        </a:xfrm>
        <a:prstGeom prst="nonIsoscelesTrapezoid">
          <a:avLst>
            <a:gd name="adj1" fmla="val 0"/>
            <a:gd name="adj2" fmla="val 105705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kern="1200" dirty="0">
              <a:solidFill>
                <a:schemeClr val="accent4">
                  <a:lumMod val="75000"/>
                </a:schemeClr>
              </a:solidFill>
            </a:rPr>
            <a:t>Read-only actions in the workspace. Readers can list and view assets in a workspace, but can't create or update these assets.</a:t>
          </a:r>
        </a:p>
      </dsp:txBody>
      <dsp:txXfrm rot="10800000">
        <a:off x="4657432" y="0"/>
        <a:ext cx="5616315" cy="1101518"/>
      </dsp:txXfrm>
    </dsp:sp>
    <dsp:sp modelId="{33E5688E-3408-CB4F-A830-E6F1BD542121}">
      <dsp:nvSpPr>
        <dsp:cNvPr id="0" name=""/>
        <dsp:cNvSpPr/>
      </dsp:nvSpPr>
      <dsp:spPr>
        <a:xfrm>
          <a:off x="2328716" y="0"/>
          <a:ext cx="2328716" cy="1101518"/>
        </a:xfrm>
        <a:prstGeom prst="trapezoid">
          <a:avLst>
            <a:gd name="adj" fmla="val 105705"/>
          </a:avLst>
        </a:prstGeom>
        <a:solidFill>
          <a:schemeClr val="accent4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accent4">
                  <a:lumMod val="75000"/>
                </a:schemeClr>
              </a:solidFill>
            </a:rPr>
            <a:t>Reader</a:t>
          </a:r>
        </a:p>
      </dsp:txBody>
      <dsp:txXfrm>
        <a:off x="2328716" y="0"/>
        <a:ext cx="2328716" cy="1101518"/>
      </dsp:txXfrm>
    </dsp:sp>
    <dsp:sp modelId="{7DFFE9D1-7F6B-D14F-82A9-13DBCCCACB04}">
      <dsp:nvSpPr>
        <dsp:cNvPr id="0" name=""/>
        <dsp:cNvSpPr/>
      </dsp:nvSpPr>
      <dsp:spPr>
        <a:xfrm rot="10800000">
          <a:off x="4657432" y="1101518"/>
          <a:ext cx="5616315" cy="1101518"/>
        </a:xfrm>
        <a:prstGeom prst="nonIsoscelesTrapezoid">
          <a:avLst>
            <a:gd name="adj1" fmla="val 0"/>
            <a:gd name="adj2" fmla="val 105705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-370661"/>
              <a:satOff val="5772"/>
              <a:lumOff val="287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kern="1200" dirty="0">
              <a:solidFill>
                <a:schemeClr val="accent1">
                  <a:lumMod val="75000"/>
                </a:schemeClr>
              </a:solidFill>
            </a:rPr>
            <a:t>View, create, edit, or delete (where applicable) assets in a workspace. For example, contributors can create an experiment, create or attach a compute cluster, submit a run, and deploy a web service.</a:t>
          </a:r>
        </a:p>
      </dsp:txBody>
      <dsp:txXfrm rot="10800000">
        <a:off x="5821790" y="1101518"/>
        <a:ext cx="4451957" cy="1101518"/>
      </dsp:txXfrm>
    </dsp:sp>
    <dsp:sp modelId="{8B8AC19C-5F2D-864C-B2BF-6AE7A39862F6}">
      <dsp:nvSpPr>
        <dsp:cNvPr id="0" name=""/>
        <dsp:cNvSpPr/>
      </dsp:nvSpPr>
      <dsp:spPr>
        <a:xfrm>
          <a:off x="1164358" y="1101518"/>
          <a:ext cx="4657432" cy="1101518"/>
        </a:xfrm>
        <a:prstGeom prst="trapezoid">
          <a:avLst>
            <a:gd name="adj" fmla="val 105705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accent1">
                  <a:lumMod val="75000"/>
                </a:schemeClr>
              </a:solidFill>
            </a:rPr>
            <a:t>Contributor</a:t>
          </a:r>
          <a:endParaRPr lang="en-GB" sz="2400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1979408" y="1101518"/>
        <a:ext cx="3027331" cy="1101518"/>
      </dsp:txXfrm>
    </dsp:sp>
    <dsp:sp modelId="{996A2BC0-C64E-A546-ACCD-F96D37826042}">
      <dsp:nvSpPr>
        <dsp:cNvPr id="0" name=""/>
        <dsp:cNvSpPr/>
      </dsp:nvSpPr>
      <dsp:spPr>
        <a:xfrm rot="10800000">
          <a:off x="5821790" y="2203036"/>
          <a:ext cx="4451957" cy="1101518"/>
        </a:xfrm>
        <a:prstGeom prst="nonIsoscelesTrapezoid">
          <a:avLst>
            <a:gd name="adj1" fmla="val 0"/>
            <a:gd name="adj2" fmla="val 105705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-370661"/>
              <a:satOff val="5772"/>
              <a:lumOff val="287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b="0" kern="1200" dirty="0">
              <a:solidFill>
                <a:srgbClr val="00B050"/>
              </a:solidFill>
            </a:rPr>
            <a:t>Full access to the workspace, including the ability to view, create, edit, or delete (where applicable) assets in a workspace. Additionally, you can change role assignments.</a:t>
          </a:r>
        </a:p>
      </dsp:txBody>
      <dsp:txXfrm rot="10800000">
        <a:off x="6986148" y="2203036"/>
        <a:ext cx="3287599" cy="1101518"/>
      </dsp:txXfrm>
    </dsp:sp>
    <dsp:sp modelId="{DCCF1056-9413-3E4A-B337-43CF3D940FCB}">
      <dsp:nvSpPr>
        <dsp:cNvPr id="0" name=""/>
        <dsp:cNvSpPr/>
      </dsp:nvSpPr>
      <dsp:spPr>
        <a:xfrm>
          <a:off x="0" y="2203036"/>
          <a:ext cx="6986148" cy="1101518"/>
        </a:xfrm>
        <a:prstGeom prst="trapezoid">
          <a:avLst>
            <a:gd name="adj" fmla="val 105705"/>
          </a:avLst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 dirty="0">
              <a:solidFill>
                <a:srgbClr val="00B050"/>
              </a:solidFill>
            </a:rPr>
            <a:t>Owner</a:t>
          </a:r>
          <a:endParaRPr lang="en-GB" sz="4000" b="0" kern="1200" dirty="0">
            <a:solidFill>
              <a:srgbClr val="00B050"/>
            </a:solidFill>
          </a:endParaRPr>
        </a:p>
      </dsp:txBody>
      <dsp:txXfrm>
        <a:off x="1222576" y="2203036"/>
        <a:ext cx="4540996" cy="11015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8C2A91-FD65-9A4F-A16A-0978A5F40519}">
      <dsp:nvSpPr>
        <dsp:cNvPr id="0" name=""/>
        <dsp:cNvSpPr/>
      </dsp:nvSpPr>
      <dsp:spPr>
        <a:xfrm rot="5400000">
          <a:off x="1892005" y="803066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854B74-FC94-DF47-B803-444646F9759A}">
      <dsp:nvSpPr>
        <dsp:cNvPr id="0" name=""/>
        <dsp:cNvSpPr/>
      </dsp:nvSpPr>
      <dsp:spPr>
        <a:xfrm>
          <a:off x="2180523" y="1441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store</a:t>
          </a:r>
        </a:p>
      </dsp:txBody>
      <dsp:txXfrm>
        <a:off x="2210074" y="30992"/>
        <a:ext cx="1622469" cy="949840"/>
      </dsp:txXfrm>
    </dsp:sp>
    <dsp:sp modelId="{53AC0603-BEC4-2A41-AD04-5AA3CF4DB84B}">
      <dsp:nvSpPr>
        <dsp:cNvPr id="0" name=""/>
        <dsp:cNvSpPr/>
      </dsp:nvSpPr>
      <dsp:spPr>
        <a:xfrm rot="5400000">
          <a:off x="1892005" y="2064245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5902CC-4F9B-E441-8890-AAEFE1C1DF65}">
      <dsp:nvSpPr>
        <dsp:cNvPr id="0" name=""/>
        <dsp:cNvSpPr/>
      </dsp:nvSpPr>
      <dsp:spPr>
        <a:xfrm>
          <a:off x="2180523" y="1262620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set</a:t>
          </a:r>
        </a:p>
      </dsp:txBody>
      <dsp:txXfrm>
        <a:off x="2210074" y="1292171"/>
        <a:ext cx="1622469" cy="949840"/>
      </dsp:txXfrm>
    </dsp:sp>
    <dsp:sp modelId="{91E41B5B-74C3-9542-A691-1E95ACCE1ED3}">
      <dsp:nvSpPr>
        <dsp:cNvPr id="0" name=""/>
        <dsp:cNvSpPr/>
      </dsp:nvSpPr>
      <dsp:spPr>
        <a:xfrm rot="5400000">
          <a:off x="1892005" y="3325423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294A33-5230-224E-B982-09DA160CE86D}">
      <dsp:nvSpPr>
        <dsp:cNvPr id="0" name=""/>
        <dsp:cNvSpPr/>
      </dsp:nvSpPr>
      <dsp:spPr>
        <a:xfrm>
          <a:off x="2180523" y="2523798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Models</a:t>
          </a:r>
        </a:p>
      </dsp:txBody>
      <dsp:txXfrm>
        <a:off x="2210074" y="2553349"/>
        <a:ext cx="1622469" cy="949840"/>
      </dsp:txXfrm>
    </dsp:sp>
    <dsp:sp modelId="{1494652F-F895-0349-8AEA-89B6A1A8E120}">
      <dsp:nvSpPr>
        <dsp:cNvPr id="0" name=""/>
        <dsp:cNvSpPr/>
      </dsp:nvSpPr>
      <dsp:spPr>
        <a:xfrm>
          <a:off x="2522594" y="3956013"/>
          <a:ext cx="2230733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D47CFB-CA3E-D040-B6C6-1635865A3AE7}">
      <dsp:nvSpPr>
        <dsp:cNvPr id="0" name=""/>
        <dsp:cNvSpPr/>
      </dsp:nvSpPr>
      <dsp:spPr>
        <a:xfrm>
          <a:off x="2180523" y="3784977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Environments</a:t>
          </a:r>
        </a:p>
      </dsp:txBody>
      <dsp:txXfrm>
        <a:off x="2210074" y="3814528"/>
        <a:ext cx="1622469" cy="949840"/>
      </dsp:txXfrm>
    </dsp:sp>
    <dsp:sp modelId="{53839300-6DF0-5D45-AC1B-4033F2256B2E}">
      <dsp:nvSpPr>
        <dsp:cNvPr id="0" name=""/>
        <dsp:cNvSpPr/>
      </dsp:nvSpPr>
      <dsp:spPr>
        <a:xfrm rot="16200000">
          <a:off x="4128495" y="3325423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E7AAE-24F3-4141-A458-2C50DDEF6211}">
      <dsp:nvSpPr>
        <dsp:cNvPr id="0" name=""/>
        <dsp:cNvSpPr/>
      </dsp:nvSpPr>
      <dsp:spPr>
        <a:xfrm>
          <a:off x="4417013" y="3784977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eployments</a:t>
          </a:r>
        </a:p>
      </dsp:txBody>
      <dsp:txXfrm>
        <a:off x="4446564" y="3814528"/>
        <a:ext cx="1622469" cy="949840"/>
      </dsp:txXfrm>
    </dsp:sp>
    <dsp:sp modelId="{B395F359-16B3-C044-A6CC-31B4B13BEA89}">
      <dsp:nvSpPr>
        <dsp:cNvPr id="0" name=""/>
        <dsp:cNvSpPr/>
      </dsp:nvSpPr>
      <dsp:spPr>
        <a:xfrm rot="16200000">
          <a:off x="4128495" y="2064245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10F89B-D02D-7D43-A8C4-36F30B6D2290}">
      <dsp:nvSpPr>
        <dsp:cNvPr id="0" name=""/>
        <dsp:cNvSpPr/>
      </dsp:nvSpPr>
      <dsp:spPr>
        <a:xfrm>
          <a:off x="4417013" y="2523798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Experimentation</a:t>
          </a:r>
        </a:p>
      </dsp:txBody>
      <dsp:txXfrm>
        <a:off x="4446564" y="2553349"/>
        <a:ext cx="1622469" cy="949840"/>
      </dsp:txXfrm>
    </dsp:sp>
    <dsp:sp modelId="{86A52B42-6076-E445-B931-78F08FF01176}">
      <dsp:nvSpPr>
        <dsp:cNvPr id="0" name=""/>
        <dsp:cNvSpPr/>
      </dsp:nvSpPr>
      <dsp:spPr>
        <a:xfrm rot="16200000">
          <a:off x="4128495" y="803066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420F53-60A6-4B46-BBBF-EA350BF7F5B5}">
      <dsp:nvSpPr>
        <dsp:cNvPr id="0" name=""/>
        <dsp:cNvSpPr/>
      </dsp:nvSpPr>
      <dsp:spPr>
        <a:xfrm>
          <a:off x="4417013" y="1262620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Pipelines</a:t>
          </a:r>
        </a:p>
      </dsp:txBody>
      <dsp:txXfrm>
        <a:off x="4446564" y="1292171"/>
        <a:ext cx="1622469" cy="949840"/>
      </dsp:txXfrm>
    </dsp:sp>
    <dsp:sp modelId="{A89B9B16-D6F4-EA4C-AB25-11FCA61B4CB6}">
      <dsp:nvSpPr>
        <dsp:cNvPr id="0" name=""/>
        <dsp:cNvSpPr/>
      </dsp:nvSpPr>
      <dsp:spPr>
        <a:xfrm>
          <a:off x="4759084" y="172477"/>
          <a:ext cx="2230733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E295A1-4340-F84D-BAB0-2BBC881A99A7}">
      <dsp:nvSpPr>
        <dsp:cNvPr id="0" name=""/>
        <dsp:cNvSpPr/>
      </dsp:nvSpPr>
      <dsp:spPr>
        <a:xfrm>
          <a:off x="4417013" y="1441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Compute</a:t>
          </a:r>
        </a:p>
      </dsp:txBody>
      <dsp:txXfrm>
        <a:off x="4446564" y="30992"/>
        <a:ext cx="1622469" cy="949840"/>
      </dsp:txXfrm>
    </dsp:sp>
    <dsp:sp modelId="{0F90293C-7509-1E44-B894-38413DFAD520}">
      <dsp:nvSpPr>
        <dsp:cNvPr id="0" name=""/>
        <dsp:cNvSpPr/>
      </dsp:nvSpPr>
      <dsp:spPr>
        <a:xfrm rot="5400000">
          <a:off x="6364985" y="803066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1E5C18-69AF-4B47-B3D3-23CEA5C2500B}">
      <dsp:nvSpPr>
        <dsp:cNvPr id="0" name=""/>
        <dsp:cNvSpPr/>
      </dsp:nvSpPr>
      <dsp:spPr>
        <a:xfrm>
          <a:off x="6653503" y="1441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Workspace</a:t>
          </a:r>
        </a:p>
      </dsp:txBody>
      <dsp:txXfrm>
        <a:off x="6683054" y="30992"/>
        <a:ext cx="1622469" cy="949840"/>
      </dsp:txXfrm>
    </dsp:sp>
    <dsp:sp modelId="{32FB0798-6262-6348-AC06-FFAF64B60231}">
      <dsp:nvSpPr>
        <dsp:cNvPr id="0" name=""/>
        <dsp:cNvSpPr/>
      </dsp:nvSpPr>
      <dsp:spPr>
        <a:xfrm rot="5400000">
          <a:off x="6364985" y="2064245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F72A1D-68FF-584D-A4EF-507A0879FDEC}">
      <dsp:nvSpPr>
        <dsp:cNvPr id="0" name=""/>
        <dsp:cNvSpPr/>
      </dsp:nvSpPr>
      <dsp:spPr>
        <a:xfrm>
          <a:off x="6653503" y="1262620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ComputeInstance</a:t>
          </a:r>
        </a:p>
      </dsp:txBody>
      <dsp:txXfrm>
        <a:off x="6683054" y="1292171"/>
        <a:ext cx="1622469" cy="949840"/>
      </dsp:txXfrm>
    </dsp:sp>
    <dsp:sp modelId="{E89F5328-EBDE-2D4A-8DFB-550ACB85A395}">
      <dsp:nvSpPr>
        <dsp:cNvPr id="0" name=""/>
        <dsp:cNvSpPr/>
      </dsp:nvSpPr>
      <dsp:spPr>
        <a:xfrm rot="5400000">
          <a:off x="6364985" y="3325423"/>
          <a:ext cx="1255421" cy="15134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C93602-340C-B244-B9D3-94A0EE833A9E}">
      <dsp:nvSpPr>
        <dsp:cNvPr id="0" name=""/>
        <dsp:cNvSpPr/>
      </dsp:nvSpPr>
      <dsp:spPr>
        <a:xfrm>
          <a:off x="6653503" y="2523798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Drift</a:t>
          </a:r>
        </a:p>
      </dsp:txBody>
      <dsp:txXfrm>
        <a:off x="6683054" y="2553349"/>
        <a:ext cx="1622469" cy="949840"/>
      </dsp:txXfrm>
    </dsp:sp>
    <dsp:sp modelId="{6EDAFC03-3C9F-FB42-B27E-50A180B479D2}">
      <dsp:nvSpPr>
        <dsp:cNvPr id="0" name=""/>
        <dsp:cNvSpPr/>
      </dsp:nvSpPr>
      <dsp:spPr>
        <a:xfrm>
          <a:off x="6653503" y="3784977"/>
          <a:ext cx="1681571" cy="100894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Labelling</a:t>
          </a:r>
        </a:p>
      </dsp:txBody>
      <dsp:txXfrm>
        <a:off x="6683054" y="3814528"/>
        <a:ext cx="1622469" cy="9498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C34A37-E8F3-2E4D-9766-9535B263A243}">
      <dsp:nvSpPr>
        <dsp:cNvPr id="0" name=""/>
        <dsp:cNvSpPr/>
      </dsp:nvSpPr>
      <dsp:spPr>
        <a:xfrm>
          <a:off x="5257800" y="1852864"/>
          <a:ext cx="3719932" cy="6456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2804"/>
              </a:lnTo>
              <a:lnTo>
                <a:pt x="3719932" y="322804"/>
              </a:lnTo>
              <a:lnTo>
                <a:pt x="3719932" y="64560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50FAE4-CB21-1E40-BE6E-340630333E10}">
      <dsp:nvSpPr>
        <dsp:cNvPr id="0" name=""/>
        <dsp:cNvSpPr/>
      </dsp:nvSpPr>
      <dsp:spPr>
        <a:xfrm>
          <a:off x="5212080" y="1852864"/>
          <a:ext cx="91440" cy="64560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4560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843774-FDCB-2946-96AB-15220EA78FD1}">
      <dsp:nvSpPr>
        <dsp:cNvPr id="0" name=""/>
        <dsp:cNvSpPr/>
      </dsp:nvSpPr>
      <dsp:spPr>
        <a:xfrm>
          <a:off x="1537867" y="1852864"/>
          <a:ext cx="3719932" cy="645608"/>
        </a:xfrm>
        <a:custGeom>
          <a:avLst/>
          <a:gdLst/>
          <a:ahLst/>
          <a:cxnLst/>
          <a:rect l="0" t="0" r="0" b="0"/>
          <a:pathLst>
            <a:path>
              <a:moveTo>
                <a:pt x="3719932" y="0"/>
              </a:moveTo>
              <a:lnTo>
                <a:pt x="3719932" y="322804"/>
              </a:lnTo>
              <a:lnTo>
                <a:pt x="0" y="322804"/>
              </a:lnTo>
              <a:lnTo>
                <a:pt x="0" y="64560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8BF0C4-5866-5249-B234-F0DE8CF1AD2E}">
      <dsp:nvSpPr>
        <dsp:cNvPr id="0" name=""/>
        <dsp:cNvSpPr/>
      </dsp:nvSpPr>
      <dsp:spPr>
        <a:xfrm>
          <a:off x="4489219" y="315702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AC71DF-74B0-EC4A-944B-DC8A81659997}">
      <dsp:nvSpPr>
        <dsp:cNvPr id="0" name=""/>
        <dsp:cNvSpPr/>
      </dsp:nvSpPr>
      <dsp:spPr>
        <a:xfrm>
          <a:off x="4489219" y="315702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02A4F4-0F23-C94B-9B65-CB060DD6956C}">
      <dsp:nvSpPr>
        <dsp:cNvPr id="0" name=""/>
        <dsp:cNvSpPr/>
      </dsp:nvSpPr>
      <dsp:spPr>
        <a:xfrm>
          <a:off x="3720638" y="59239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465" tIns="37465" rIns="37465" bIns="37465" numCol="1" spcCol="1270" anchor="ctr" anchorCtr="0">
          <a:noAutofit/>
        </a:bodyPr>
        <a:lstStyle/>
        <a:p>
          <a:pPr marL="0" lvl="0" indent="0" algn="ctr" defTabSz="2622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900" kern="1200"/>
            <a:t>Datastore</a:t>
          </a:r>
        </a:p>
      </dsp:txBody>
      <dsp:txXfrm>
        <a:off x="3720638" y="592392"/>
        <a:ext cx="3074323" cy="983783"/>
      </dsp:txXfrm>
    </dsp:sp>
    <dsp:sp modelId="{459AA35C-F8DB-DE40-8F61-ECC896A5A8BA}">
      <dsp:nvSpPr>
        <dsp:cNvPr id="0" name=""/>
        <dsp:cNvSpPr/>
      </dsp:nvSpPr>
      <dsp:spPr>
        <a:xfrm>
          <a:off x="769286" y="2498473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078DC3-56D2-0F47-84FA-C9D72E1E13AD}">
      <dsp:nvSpPr>
        <dsp:cNvPr id="0" name=""/>
        <dsp:cNvSpPr/>
      </dsp:nvSpPr>
      <dsp:spPr>
        <a:xfrm>
          <a:off x="769286" y="2498473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16E638-AC87-DF41-9374-C477BEF9E449}">
      <dsp:nvSpPr>
        <dsp:cNvPr id="0" name=""/>
        <dsp:cNvSpPr/>
      </dsp:nvSpPr>
      <dsp:spPr>
        <a:xfrm>
          <a:off x="706" y="277516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 err="1"/>
            <a:t>Microsoft.MachineLearningServices</a:t>
          </a:r>
          <a:r>
            <a:rPr lang="en-GB" sz="1600" kern="1200" dirty="0"/>
            <a:t>/workspaces/datastores/write</a:t>
          </a:r>
        </a:p>
      </dsp:txBody>
      <dsp:txXfrm>
        <a:off x="706" y="2775162"/>
        <a:ext cx="3074323" cy="983783"/>
      </dsp:txXfrm>
    </dsp:sp>
    <dsp:sp modelId="{A8C53D27-4CBC-A849-B13D-EDBC469B0E92}">
      <dsp:nvSpPr>
        <dsp:cNvPr id="0" name=""/>
        <dsp:cNvSpPr/>
      </dsp:nvSpPr>
      <dsp:spPr>
        <a:xfrm>
          <a:off x="4489219" y="2498473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E5DA17-31DD-EA4E-9B8E-B09AEBF1725F}">
      <dsp:nvSpPr>
        <dsp:cNvPr id="0" name=""/>
        <dsp:cNvSpPr/>
      </dsp:nvSpPr>
      <dsp:spPr>
        <a:xfrm>
          <a:off x="4489219" y="2498473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6C9925-E19C-754D-9676-D6B4DC28CA6A}">
      <dsp:nvSpPr>
        <dsp:cNvPr id="0" name=""/>
        <dsp:cNvSpPr/>
      </dsp:nvSpPr>
      <dsp:spPr>
        <a:xfrm>
          <a:off x="3720638" y="277516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Microsoft.MachineLearningServices</a:t>
          </a:r>
          <a:r>
            <a:rPr lang="en-GB" sz="1400" kern="1200" dirty="0"/>
            <a:t>/workspaces/datastores/read</a:t>
          </a:r>
        </a:p>
      </dsp:txBody>
      <dsp:txXfrm>
        <a:off x="3720638" y="2775162"/>
        <a:ext cx="3074323" cy="983783"/>
      </dsp:txXfrm>
    </dsp:sp>
    <dsp:sp modelId="{A29C0DED-DC36-6B4D-82CB-47FAB0CD4146}">
      <dsp:nvSpPr>
        <dsp:cNvPr id="0" name=""/>
        <dsp:cNvSpPr/>
      </dsp:nvSpPr>
      <dsp:spPr>
        <a:xfrm>
          <a:off x="8209151" y="2498473"/>
          <a:ext cx="1537161" cy="153716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575C97-5C27-0E45-9C12-4FCC9EFBB597}">
      <dsp:nvSpPr>
        <dsp:cNvPr id="0" name=""/>
        <dsp:cNvSpPr/>
      </dsp:nvSpPr>
      <dsp:spPr>
        <a:xfrm>
          <a:off x="8209151" y="2498473"/>
          <a:ext cx="1537161" cy="153716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C95EBE-0DEC-A948-8631-C2EED014ECA3}">
      <dsp:nvSpPr>
        <dsp:cNvPr id="0" name=""/>
        <dsp:cNvSpPr/>
      </dsp:nvSpPr>
      <dsp:spPr>
        <a:xfrm>
          <a:off x="7440570" y="2775162"/>
          <a:ext cx="3074323" cy="9837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 err="1"/>
            <a:t>Microsoft.MachineLearningServices</a:t>
          </a:r>
          <a:r>
            <a:rPr lang="en-GB" sz="1200" kern="1200" dirty="0"/>
            <a:t>/workspaces/datastores/delete</a:t>
          </a:r>
        </a:p>
      </dsp:txBody>
      <dsp:txXfrm>
        <a:off x="7440570" y="2775162"/>
        <a:ext cx="3074323" cy="98378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BB60A6-B76F-544E-90EB-D40E7B26ADDF}">
      <dsp:nvSpPr>
        <dsp:cNvPr id="0" name=""/>
        <dsp:cNvSpPr/>
      </dsp:nvSpPr>
      <dsp:spPr>
        <a:xfrm>
          <a:off x="6397" y="2150"/>
          <a:ext cx="5115757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205740" rIns="205740" bIns="205740" numCol="1" spcCol="1270" anchor="ctr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400" kern="1200"/>
            <a:t>Technical Roles</a:t>
          </a:r>
          <a:endParaRPr lang="en-GB" sz="5400" kern="1200"/>
        </a:p>
      </dsp:txBody>
      <dsp:txXfrm>
        <a:off x="66905" y="62658"/>
        <a:ext cx="4994741" cy="1944879"/>
      </dsp:txXfrm>
    </dsp:sp>
    <dsp:sp modelId="{601DB9B1-0BD1-F74A-926A-280F86DDFC51}">
      <dsp:nvSpPr>
        <dsp:cNvPr id="0" name=""/>
        <dsp:cNvSpPr/>
      </dsp:nvSpPr>
      <dsp:spPr>
        <a:xfrm>
          <a:off x="6397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ata Scientist</a:t>
          </a:r>
          <a:endParaRPr lang="en-GB" sz="2100" kern="1200"/>
        </a:p>
      </dsp:txBody>
      <dsp:txXfrm>
        <a:off x="53694" y="2391089"/>
        <a:ext cx="1520228" cy="1971301"/>
      </dsp:txXfrm>
    </dsp:sp>
    <dsp:sp modelId="{8087EA1C-F907-0448-9773-FAE97BC2AC8A}">
      <dsp:nvSpPr>
        <dsp:cNvPr id="0" name=""/>
        <dsp:cNvSpPr/>
      </dsp:nvSpPr>
      <dsp:spPr>
        <a:xfrm>
          <a:off x="1756865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Data Scientist Super User</a:t>
          </a:r>
          <a:endParaRPr lang="en-GB" sz="2100" kern="1200"/>
        </a:p>
      </dsp:txBody>
      <dsp:txXfrm>
        <a:off x="1804162" y="2391089"/>
        <a:ext cx="1520228" cy="1971301"/>
      </dsp:txXfrm>
    </dsp:sp>
    <dsp:sp modelId="{0F2D3222-FF28-E240-B241-686D9FD5BBF7}">
      <dsp:nvSpPr>
        <dsp:cNvPr id="0" name=""/>
        <dsp:cNvSpPr/>
      </dsp:nvSpPr>
      <dsp:spPr>
        <a:xfrm>
          <a:off x="3507332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Office Data Scientist </a:t>
          </a:r>
          <a:endParaRPr lang="en-GB" sz="2100" kern="1200"/>
        </a:p>
      </dsp:txBody>
      <dsp:txXfrm>
        <a:off x="3554629" y="2391089"/>
        <a:ext cx="1520228" cy="1971301"/>
      </dsp:txXfrm>
    </dsp:sp>
    <dsp:sp modelId="{EEDBC707-50F6-574C-AEFC-C64C12047F28}">
      <dsp:nvSpPr>
        <dsp:cNvPr id="0" name=""/>
        <dsp:cNvSpPr/>
      </dsp:nvSpPr>
      <dsp:spPr>
        <a:xfrm>
          <a:off x="5393445" y="2150"/>
          <a:ext cx="5115757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205740" rIns="205740" bIns="205740" numCol="1" spcCol="1270" anchor="ctr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400" kern="1200"/>
            <a:t>Operational Roles</a:t>
          </a:r>
          <a:endParaRPr lang="en-GB" sz="5400" kern="1200"/>
        </a:p>
      </dsp:txBody>
      <dsp:txXfrm>
        <a:off x="5453953" y="62658"/>
        <a:ext cx="4994741" cy="1944879"/>
      </dsp:txXfrm>
    </dsp:sp>
    <dsp:sp modelId="{A32C3922-AD4B-D942-8BDA-C80B4514AFAE}">
      <dsp:nvSpPr>
        <dsp:cNvPr id="0" name=""/>
        <dsp:cNvSpPr/>
      </dsp:nvSpPr>
      <dsp:spPr>
        <a:xfrm>
          <a:off x="5393445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IT Admin</a:t>
          </a:r>
          <a:endParaRPr lang="en-GB" sz="2100" kern="1200"/>
        </a:p>
      </dsp:txBody>
      <dsp:txXfrm>
        <a:off x="5440742" y="2391089"/>
        <a:ext cx="1520228" cy="1971301"/>
      </dsp:txXfrm>
    </dsp:sp>
    <dsp:sp modelId="{0BC2D5CA-962C-2D4A-A6C3-448E14FCDA08}">
      <dsp:nvSpPr>
        <dsp:cNvPr id="0" name=""/>
        <dsp:cNvSpPr/>
      </dsp:nvSpPr>
      <dsp:spPr>
        <a:xfrm>
          <a:off x="7143912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Workspace Admin</a:t>
          </a:r>
          <a:endParaRPr lang="en-GB" sz="2100" kern="1200"/>
        </a:p>
      </dsp:txBody>
      <dsp:txXfrm>
        <a:off x="7191209" y="2391089"/>
        <a:ext cx="1520228" cy="1971301"/>
      </dsp:txXfrm>
    </dsp:sp>
    <dsp:sp modelId="{B91A79D1-66CE-C84E-A17B-2911F97A2DFB}">
      <dsp:nvSpPr>
        <dsp:cNvPr id="0" name=""/>
        <dsp:cNvSpPr/>
      </dsp:nvSpPr>
      <dsp:spPr>
        <a:xfrm>
          <a:off x="8894379" y="2343792"/>
          <a:ext cx="1614822" cy="206589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Subscription Admin</a:t>
          </a:r>
          <a:endParaRPr lang="en-GB" sz="2100" kern="1200"/>
        </a:p>
      </dsp:txBody>
      <dsp:txXfrm>
        <a:off x="8941676" y="2391089"/>
        <a:ext cx="1520228" cy="197130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CE2A1A-938A-4A46-A94B-85517A617E05}">
      <dsp:nvSpPr>
        <dsp:cNvPr id="0" name=""/>
        <dsp:cNvSpPr/>
      </dsp:nvSpPr>
      <dsp:spPr>
        <a:xfrm>
          <a:off x="2162961" y="0"/>
          <a:ext cx="1510523" cy="105214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EDE4DD-609F-4310-85EF-A79BA34DC5A9}">
      <dsp:nvSpPr>
        <dsp:cNvPr id="0" name=""/>
        <dsp:cNvSpPr/>
      </dsp:nvSpPr>
      <dsp:spPr>
        <a:xfrm>
          <a:off x="760332" y="1174794"/>
          <a:ext cx="4315781" cy="4509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200" kern="1200"/>
            <a:t>Allowed</a:t>
          </a:r>
        </a:p>
      </dsp:txBody>
      <dsp:txXfrm>
        <a:off x="760332" y="1174794"/>
        <a:ext cx="4315781" cy="450919"/>
      </dsp:txXfrm>
    </dsp:sp>
    <dsp:sp modelId="{C8229AD7-03D1-43FD-A276-7ED1B2CC1B9E}">
      <dsp:nvSpPr>
        <dsp:cNvPr id="0" name=""/>
        <dsp:cNvSpPr/>
      </dsp:nvSpPr>
      <dsp:spPr>
        <a:xfrm>
          <a:off x="760332" y="1682760"/>
          <a:ext cx="4315781" cy="24121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create experiment and submit runs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deploy to an ACI but not to a PROD aks cluster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create a draft pipeline but not publish a pipeline endpoint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complete a Hyperdrive or an AutoML run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register datastores and datasets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view workspace and subscription level quota allocated for that workspace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do all data plane operations within the workspace that are part of a data scientists lifecycle</a:t>
          </a:r>
          <a:endParaRPr lang="en-US" sz="1700" kern="1200"/>
        </a:p>
      </dsp:txBody>
      <dsp:txXfrm>
        <a:off x="760332" y="1682760"/>
        <a:ext cx="4315781" cy="2412162"/>
      </dsp:txXfrm>
    </dsp:sp>
    <dsp:sp modelId="{E21A7C59-8F5D-4587-B7E4-14DCB02BD49E}">
      <dsp:nvSpPr>
        <dsp:cNvPr id="0" name=""/>
        <dsp:cNvSpPr/>
      </dsp:nvSpPr>
      <dsp:spPr>
        <a:xfrm>
          <a:off x="7234004" y="0"/>
          <a:ext cx="1510523" cy="105214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CD360A-0191-40FF-9780-42BC2867B91C}">
      <dsp:nvSpPr>
        <dsp:cNvPr id="0" name=""/>
        <dsp:cNvSpPr/>
      </dsp:nvSpPr>
      <dsp:spPr>
        <a:xfrm>
          <a:off x="5831375" y="1174794"/>
          <a:ext cx="4315781" cy="4509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200" kern="1200"/>
            <a:t>Not Allowed</a:t>
          </a:r>
          <a:endParaRPr lang="en-US" sz="3200" kern="1200"/>
        </a:p>
      </dsp:txBody>
      <dsp:txXfrm>
        <a:off x="5831375" y="1174794"/>
        <a:ext cx="4315781" cy="450919"/>
      </dsp:txXfrm>
    </dsp:sp>
    <dsp:sp modelId="{0F3A299B-42CF-4B46-B76E-81522BFD2D45}">
      <dsp:nvSpPr>
        <dsp:cNvPr id="0" name=""/>
        <dsp:cNvSpPr/>
      </dsp:nvSpPr>
      <dsp:spPr>
        <a:xfrm>
          <a:off x="5831375" y="1682760"/>
          <a:ext cx="4315781" cy="24121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create a compute instance or a training cluster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upgrade the workspace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not create a new workspace but can use an existing workspace created by the subscription admin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/>
            <a:t>Cannot create new roles or assign users any roles within that workspace</a:t>
          </a:r>
          <a:endParaRPr lang="en-US" sz="1700" kern="1200"/>
        </a:p>
      </dsp:txBody>
      <dsp:txXfrm>
        <a:off x="5831375" y="1682760"/>
        <a:ext cx="4315781" cy="241216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7D7CB-738C-4798-8B72-1C27C0AC57F1}">
      <dsp:nvSpPr>
        <dsp:cNvPr id="0" name=""/>
        <dsp:cNvSpPr/>
      </dsp:nvSpPr>
      <dsp:spPr>
        <a:xfrm>
          <a:off x="2409743" y="458505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49CBD5-6DC0-48CF-A9D1-9E377735F03D}">
      <dsp:nvSpPr>
        <dsp:cNvPr id="0" name=""/>
        <dsp:cNvSpPr/>
      </dsp:nvSpPr>
      <dsp:spPr>
        <a:xfrm>
          <a:off x="1005743" y="2118181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Allowed</a:t>
          </a:r>
          <a:endParaRPr lang="en-US" sz="3600" kern="1200"/>
        </a:p>
      </dsp:txBody>
      <dsp:txXfrm>
        <a:off x="1005743" y="2118181"/>
        <a:ext cx="4320000" cy="648000"/>
      </dsp:txXfrm>
    </dsp:sp>
    <dsp:sp modelId="{B866FEDD-51E0-4525-A342-F9EE1F9A60E1}">
      <dsp:nvSpPr>
        <dsp:cNvPr id="0" name=""/>
        <dsp:cNvSpPr/>
      </dsp:nvSpPr>
      <dsp:spPr>
        <a:xfrm>
          <a:off x="1005743" y="2834867"/>
          <a:ext cx="4320000" cy="10579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do all operations in the workspace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ble to add new users to the workspace against a pre-created role or a custom role, but not create a new role</a:t>
          </a:r>
          <a:endParaRPr lang="en-US" sz="1700" kern="1200"/>
        </a:p>
      </dsp:txBody>
      <dsp:txXfrm>
        <a:off x="1005743" y="2834867"/>
        <a:ext cx="4320000" cy="1057964"/>
      </dsp:txXfrm>
    </dsp:sp>
    <dsp:sp modelId="{E9821B75-6ABF-4617-8EA7-AAF280184D4A}">
      <dsp:nvSpPr>
        <dsp:cNvPr id="0" name=""/>
        <dsp:cNvSpPr/>
      </dsp:nvSpPr>
      <dsp:spPr>
        <a:xfrm>
          <a:off x="7485743" y="458505"/>
          <a:ext cx="1512000" cy="1512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28DECD-D132-4792-B258-DCBC44B24989}">
      <dsp:nvSpPr>
        <dsp:cNvPr id="0" name=""/>
        <dsp:cNvSpPr/>
      </dsp:nvSpPr>
      <dsp:spPr>
        <a:xfrm>
          <a:off x="6081743" y="2118181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Not Allowed</a:t>
          </a:r>
          <a:endParaRPr lang="en-US" sz="3600" kern="1200"/>
        </a:p>
      </dsp:txBody>
      <dsp:txXfrm>
        <a:off x="6081743" y="2118181"/>
        <a:ext cx="4320000" cy="648000"/>
      </dsp:txXfrm>
    </dsp:sp>
    <dsp:sp modelId="{B56AE5D9-A228-429A-A2B7-8369E090E87A}">
      <dsp:nvSpPr>
        <dsp:cNvPr id="0" name=""/>
        <dsp:cNvSpPr/>
      </dsp:nvSpPr>
      <dsp:spPr>
        <a:xfrm>
          <a:off x="6081743" y="2834867"/>
          <a:ext cx="4320000" cy="10579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allocate workspace level quota</a:t>
          </a:r>
          <a:endParaRPr lang="en-US" sz="1700" kern="1200"/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Not able to update the Edition of the workspace</a:t>
          </a:r>
          <a:endParaRPr lang="en-US" sz="1700" kern="1200"/>
        </a:p>
      </dsp:txBody>
      <dsp:txXfrm>
        <a:off x="6081743" y="2834867"/>
        <a:ext cx="4320000" cy="105796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65D0B4-2218-4ED8-B3C4-9DCD22695568}">
      <dsp:nvSpPr>
        <dsp:cNvPr id="0" name=""/>
        <dsp:cNvSpPr/>
      </dsp:nvSpPr>
      <dsp:spPr>
        <a:xfrm>
          <a:off x="760332" y="0"/>
          <a:ext cx="1510523" cy="108109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618C62-5347-495A-8BF1-E2DF8C9051F6}">
      <dsp:nvSpPr>
        <dsp:cNvPr id="0" name=""/>
        <dsp:cNvSpPr/>
      </dsp:nvSpPr>
      <dsp:spPr>
        <a:xfrm>
          <a:off x="760332" y="1207115"/>
          <a:ext cx="4315781" cy="4633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300" kern="1200"/>
            <a:t>Allowed</a:t>
          </a:r>
        </a:p>
      </dsp:txBody>
      <dsp:txXfrm>
        <a:off x="760332" y="1207115"/>
        <a:ext cx="4315781" cy="463325"/>
      </dsp:txXfrm>
    </dsp:sp>
    <dsp:sp modelId="{4C8B5919-EDCD-4D74-8EE7-249F89CC6CCA}">
      <dsp:nvSpPr>
        <dsp:cNvPr id="0" name=""/>
        <dsp:cNvSpPr/>
      </dsp:nvSpPr>
      <dsp:spPr>
        <a:xfrm>
          <a:off x="760332" y="1729056"/>
          <a:ext cx="4315781" cy="23658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Start, stop, and restart Notebook VMs 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Access the Azure ML workspace portal and see experiments, pipelines, computes, models and deployments.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publish, clone, and delete experiments and pipelin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un pipelines from SDK and portal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Download log files and statistic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egister and unregister model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List, read and write on any registered datastor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List, read, register and unregister datasets</a:t>
          </a:r>
          <a:endParaRPr lang="en-US" sz="1700" kern="1200"/>
        </a:p>
      </dsp:txBody>
      <dsp:txXfrm>
        <a:off x="760332" y="1729056"/>
        <a:ext cx="4315781" cy="2365866"/>
      </dsp:txXfrm>
    </dsp:sp>
    <dsp:sp modelId="{41E93C6C-A67D-48EB-A27C-6CB03499252A}">
      <dsp:nvSpPr>
        <dsp:cNvPr id="0" name=""/>
        <dsp:cNvSpPr/>
      </dsp:nvSpPr>
      <dsp:spPr>
        <a:xfrm>
          <a:off x="5831375" y="0"/>
          <a:ext cx="1510523" cy="108109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410ED6-C1AA-485D-92A2-A24FFD80B5D1}">
      <dsp:nvSpPr>
        <dsp:cNvPr id="0" name=""/>
        <dsp:cNvSpPr/>
      </dsp:nvSpPr>
      <dsp:spPr>
        <a:xfrm>
          <a:off x="5831375" y="1207115"/>
          <a:ext cx="4315781" cy="4633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300" kern="1200"/>
            <a:t>Not Allowed</a:t>
          </a:r>
        </a:p>
      </dsp:txBody>
      <dsp:txXfrm>
        <a:off x="5831375" y="1207115"/>
        <a:ext cx="4315781" cy="463325"/>
      </dsp:txXfrm>
    </dsp:sp>
    <dsp:sp modelId="{A6CC0FB3-481B-47B4-B831-A2703BB55BB7}">
      <dsp:nvSpPr>
        <dsp:cNvPr id="0" name=""/>
        <dsp:cNvSpPr/>
      </dsp:nvSpPr>
      <dsp:spPr>
        <a:xfrm>
          <a:off x="5831375" y="1729056"/>
          <a:ext cx="4315781" cy="23658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update, or delete an AML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update, or delete a Notebook VM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reate, update, delete, or attach comput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Deploy models to any service other than single node AKS cluster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egister/Unregister datastor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Update any type of roles</a:t>
          </a:r>
          <a:endParaRPr lang="en-US" sz="1700" kern="1200"/>
        </a:p>
      </dsp:txBody>
      <dsp:txXfrm>
        <a:off x="5831375" y="1729056"/>
        <a:ext cx="4315781" cy="236586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0EC6AB-D8B7-46FD-9A2A-A3A2FE0DEC71}">
      <dsp:nvSpPr>
        <dsp:cNvPr id="0" name=""/>
        <dsp:cNvSpPr/>
      </dsp:nvSpPr>
      <dsp:spPr>
        <a:xfrm>
          <a:off x="1005743" y="415480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04EF23-F52A-45D8-9347-D58A1D369952}">
      <dsp:nvSpPr>
        <dsp:cNvPr id="0" name=""/>
        <dsp:cNvSpPr/>
      </dsp:nvSpPr>
      <dsp:spPr>
        <a:xfrm>
          <a:off x="1005743" y="2078856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600" kern="1200"/>
            <a:t>Allowed</a:t>
          </a:r>
        </a:p>
      </dsp:txBody>
      <dsp:txXfrm>
        <a:off x="1005743" y="2078856"/>
        <a:ext cx="4320000" cy="648000"/>
      </dsp:txXfrm>
    </dsp:sp>
    <dsp:sp modelId="{A604019E-D39B-41DC-8A6B-0EAC16647172}">
      <dsp:nvSpPr>
        <dsp:cNvPr id="0" name=""/>
        <dsp:cNvSpPr/>
      </dsp:nvSpPr>
      <dsp:spPr>
        <a:xfrm>
          <a:off x="1005743" y="2797264"/>
          <a:ext cx="4320000" cy="1138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create workspace and update Editions of the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set workspace level quota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Same as sub level admin (owner)</a:t>
          </a:r>
          <a:endParaRPr lang="en-US" sz="1700" kern="1200"/>
        </a:p>
      </dsp:txBody>
      <dsp:txXfrm>
        <a:off x="1005743" y="2797264"/>
        <a:ext cx="4320000" cy="1138593"/>
      </dsp:txXfrm>
    </dsp:sp>
    <dsp:sp modelId="{26DF998B-DFA5-41A2-AC55-3B43230F27E4}">
      <dsp:nvSpPr>
        <dsp:cNvPr id="0" name=""/>
        <dsp:cNvSpPr/>
      </dsp:nvSpPr>
      <dsp:spPr>
        <a:xfrm>
          <a:off x="6081743" y="415480"/>
          <a:ext cx="1512000" cy="1512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80D621-EBF7-445E-BBE0-CC1C203837B6}">
      <dsp:nvSpPr>
        <dsp:cNvPr id="0" name=""/>
        <dsp:cNvSpPr/>
      </dsp:nvSpPr>
      <dsp:spPr>
        <a:xfrm>
          <a:off x="6081743" y="2078856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600" kern="1200"/>
            <a:t>Not Allowed</a:t>
          </a:r>
          <a:endParaRPr lang="en-US" sz="3600" kern="1200"/>
        </a:p>
      </dsp:txBody>
      <dsp:txXfrm>
        <a:off x="6081743" y="2078856"/>
        <a:ext cx="4320000" cy="648000"/>
      </dsp:txXfrm>
    </dsp:sp>
    <dsp:sp modelId="{B7D6D52A-EDA4-4196-BD8A-79FEC79A26A4}">
      <dsp:nvSpPr>
        <dsp:cNvPr id="0" name=""/>
        <dsp:cNvSpPr/>
      </dsp:nvSpPr>
      <dsp:spPr>
        <a:xfrm>
          <a:off x="6081743" y="2797264"/>
          <a:ext cx="4320000" cy="1138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Rest are not allowed</a:t>
          </a:r>
          <a:endParaRPr lang="en-US" sz="1700" kern="1200"/>
        </a:p>
      </dsp:txBody>
      <dsp:txXfrm>
        <a:off x="6081743" y="2797264"/>
        <a:ext cx="4320000" cy="113859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B60723-AF91-47CD-8618-13662433AFA5}">
      <dsp:nvSpPr>
        <dsp:cNvPr id="0" name=""/>
        <dsp:cNvSpPr/>
      </dsp:nvSpPr>
      <dsp:spPr>
        <a:xfrm>
          <a:off x="760332" y="0"/>
          <a:ext cx="1510523" cy="99866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4AAF6D-3630-4032-9CC4-D3E9CF7EA5DC}">
      <dsp:nvSpPr>
        <dsp:cNvPr id="0" name=""/>
        <dsp:cNvSpPr/>
      </dsp:nvSpPr>
      <dsp:spPr>
        <a:xfrm>
          <a:off x="760332" y="1115080"/>
          <a:ext cx="4315781" cy="427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000" kern="1200"/>
            <a:t>Allowed</a:t>
          </a:r>
        </a:p>
      </dsp:txBody>
      <dsp:txXfrm>
        <a:off x="760332" y="1115080"/>
        <a:ext cx="4315781" cy="427999"/>
      </dsp:txXfrm>
    </dsp:sp>
    <dsp:sp modelId="{937AE8EB-5C0A-4C49-A3C3-07CBBD828146}">
      <dsp:nvSpPr>
        <dsp:cNvPr id="0" name=""/>
        <dsp:cNvSpPr/>
      </dsp:nvSpPr>
      <dsp:spPr>
        <a:xfrm>
          <a:off x="760332" y="1597226"/>
          <a:ext cx="4315781" cy="24976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Can create a new workspace and also use an existing workspace created by the subscription admin</a:t>
          </a:r>
          <a:endParaRPr lang="en-US" sz="1700" kern="1200" dirty="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view workspace and subscription level quota allocated for that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create new compute within the bounds of the workspace level quota that the sub admin set on their workspac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do all data plane operations within the workspace that are part of a data scientists lifecycle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 create a compute instance and assign it to a specific data scientist as a personal compute instance</a:t>
          </a:r>
          <a:endParaRPr lang="en-US" sz="1700" kern="1200"/>
        </a:p>
      </dsp:txBody>
      <dsp:txXfrm>
        <a:off x="760332" y="1597226"/>
        <a:ext cx="4315781" cy="2497696"/>
      </dsp:txXfrm>
    </dsp:sp>
    <dsp:sp modelId="{12783C41-13AC-420C-B410-A8C678E82F4B}">
      <dsp:nvSpPr>
        <dsp:cNvPr id="0" name=""/>
        <dsp:cNvSpPr/>
      </dsp:nvSpPr>
      <dsp:spPr>
        <a:xfrm>
          <a:off x="5831375" y="0"/>
          <a:ext cx="1510523" cy="9986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7AA6D7-D005-4958-B0BB-E18368AD626C}">
      <dsp:nvSpPr>
        <dsp:cNvPr id="0" name=""/>
        <dsp:cNvSpPr/>
      </dsp:nvSpPr>
      <dsp:spPr>
        <a:xfrm>
          <a:off x="5831375" y="1115080"/>
          <a:ext cx="4315781" cy="427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3000" kern="1200"/>
            <a:t>Not allowed</a:t>
          </a:r>
          <a:endParaRPr lang="en-US" sz="3000" kern="1200"/>
        </a:p>
      </dsp:txBody>
      <dsp:txXfrm>
        <a:off x="5831375" y="1115080"/>
        <a:ext cx="4315781" cy="427999"/>
      </dsp:txXfrm>
    </dsp:sp>
    <dsp:sp modelId="{D09DD10E-F03A-46A8-87A1-3AC47F3BFD65}">
      <dsp:nvSpPr>
        <dsp:cNvPr id="0" name=""/>
        <dsp:cNvSpPr/>
      </dsp:nvSpPr>
      <dsp:spPr>
        <a:xfrm>
          <a:off x="5831375" y="1597226"/>
          <a:ext cx="4315781" cy="24976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Cannot create new roles but can assign users specific roles within that workspace </a:t>
          </a:r>
          <a:endParaRPr lang="en-US" sz="1700" kern="1200"/>
        </a:p>
      </dsp:txBody>
      <dsp:txXfrm>
        <a:off x="5831375" y="1597226"/>
        <a:ext cx="4315781" cy="24976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3CEF87-522A-F449-83D6-E500103EA50B}" type="datetimeFigureOut">
              <a:rPr lang="en-US" smtClean="0"/>
              <a:t>7/13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3FB5B4-5477-FC4C-8B10-41411CC048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4104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mediahandler/files/resourcefiles/gigaom-Delivering-on-the-Vision-of-MLOps/Delivering%20on%20the%20Vision%20of%20MLOps.pdf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azure.microsoft.com/mediahandler/files/resourcefiles/mlops-infographic/MLOps%20Infographic.pdf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machine-learning/how-to-manage-quotas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B16574EE-8191-4BCC-ABE6-D00A4F4D7690}" type="datetime8">
              <a:rPr lang="en-US" smtClean="0"/>
              <a:t>7/13/20 10:18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2255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582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9584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648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470E0-F101-4710-A121-DF6D0F7F2570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8E76B0-5953-2942-9507-BE1296952E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118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EC85D7-00F8-4974-AB9B-DBC46362CCF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825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azure.microsoft.com/mediahandler/files/resourcefiles/gigaom-Delivering-on-the-Vision-of-MLOps/Delivering%20on%20the%20Vision%20of%20MLOps.pdf</a:t>
            </a:r>
            <a:endParaRPr lang="en-GB" dirty="0"/>
          </a:p>
          <a:p>
            <a:endParaRPr lang="en-GB" dirty="0"/>
          </a:p>
          <a:p>
            <a:r>
              <a:rPr lang="en-GB" dirty="0">
                <a:hlinkClick r:id="rId4"/>
              </a:rPr>
              <a:t>https://azure.microsoft.com/mediahandler/files/resourcefiles/mlops-infographic/MLOps%20Infographic.pdf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277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docs.microsoft.com/en-us/azure/machine-learning/how-to-manage-quotas</a:t>
            </a:r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967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44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387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184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3FB5B4-5477-FC4C-8B10-41411CC048B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550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C7411-ECC0-234E-82B0-ECB18865A6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951D75-69E7-CB45-B681-D70F02DD6A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4BE345-7769-3E4A-A62D-67BC1528C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6340D-F56F-A648-B006-A631118DA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B5DAB9-66D2-4E4F-8A66-6CED95CC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1929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6C695-00BA-4448-9817-AEB0C2D93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752A69-75DA-144F-8623-CD01EAF568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6A1731-5D3B-5146-9400-26E4B7D47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140E4-1D0F-7E4C-A41F-614D47CD3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322FDC-4D1A-1D4B-A093-1BFD718B3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5670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953E33F-5EB1-8B49-B526-20C2C634BF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9AA2B9-571D-F040-AE9E-3D75B4559A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07D510-FCC3-6047-8357-B6C3478844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7DFEDE-A52B-6742-BDFA-9E4CBF6CE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D575BD-8380-FF42-8373-19F5E0D65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720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E924359-C8C2-4219-A048-2F82839691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7017" y="-10886"/>
            <a:ext cx="7787832" cy="6881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5510784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5510784" cy="33855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282538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  <p15:guide id="5" pos="3840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63727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48333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12270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73091-4C17-9940-97F7-B886E6DEE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ED4151-7DB2-754C-82FF-364A2D694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1CE2E3-9536-5040-A62F-E49FB53531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7D03EC-EB70-6249-98F5-D2FB952F8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993B6A-8048-9C46-9DE7-C15BBB369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030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41725-2EBF-314B-A9E7-7A4E4C436F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004653-A26D-A742-925C-0DDCB4239A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CE5B6-D769-1F46-BA01-E26A65644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5B5DA-F2E6-B54B-BFB8-9137D6CA4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2224F8-67DE-004F-A1AC-7354D1950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754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6FC260-ADF4-3D4D-A1B3-C68A06764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A88EA4-2CDD-BC4C-9A14-2419C3A07B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2E17A9-16AA-F442-B8BF-26205D89D4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6DC839-1B00-1E42-B80A-7D474C8AD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B336A8-76D4-A242-BEC5-F013F38B1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87AE75-E7E7-0E4C-8CF9-30DF9C6B4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51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494B6-4A97-9348-84FA-F23068808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8AD5BE-31D3-4347-80B2-74B1F80AE6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C4E3F1-416F-0347-9FD0-0A73D4CDA3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46A91B-1AC7-6249-9AE1-7DD2491BEC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500365-AEFC-AD41-BAF0-EF8050B41F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C185A2-8508-5A4A-BB57-FDDD0793B8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ED31208-D340-2C4B-9910-5EECF603C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AF88B5C-235B-084A-89A3-53915F585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7667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5762C-7B54-EE4D-AF94-8DF5AF93D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C472AB-48BC-C54D-BCBB-B4C09B636D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8FB192-960C-E74B-BB53-4FED06A94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5967E9-08BA-AC46-A92B-E2B620003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709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6F2FAB-C45A-CD40-A007-2C82C9747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72F27C-7F52-F64B-8C5F-5E6521D73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4D72DB-5DE5-AC46-83EF-3A312FEEE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84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EB5213-3393-2942-BF6E-6B0ABC8DE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04003-3A3D-B54D-AD6F-728688FE96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4E5E13-18F1-BB41-BF38-913058DA16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584BC6-3B55-D947-8229-BA64EE51A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478705-A548-3D4D-80C5-39FE6F24F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5EBD5F-F9DD-2145-86C1-5307FB7D3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871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3054A-800D-2940-A0F2-37BF160DB8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9F0AE21-BB48-7548-8A3F-0F432B4B9B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B29EAA-887E-A145-8CBE-55F579C54A8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53714D-209D-9D4A-8263-B7CB7C35E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176820-C49A-1143-BA7B-A277BBC77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B44C46-F184-0C42-8872-2EAA78A27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0139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41EE37-FE14-E249-833A-0477A1CE5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FA2EA6-AA59-E04C-87E0-AF6DA04D2E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85A9B2-5F87-924E-B0F5-B2FB0B56AE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E4686A-01FC-3249-A561-3B185F353D58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B05544-F1F0-3240-9D55-60A463550A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EF9155-C993-4049-BCB4-251C1BEF92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72922-9BD8-9D47-94D3-82D9B5A46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20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3" r:id="rId14"/>
    <p:sldLayoutId id="214748366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5216" y="2534625"/>
            <a:ext cx="5510784" cy="997196"/>
          </a:xfrm>
        </p:spPr>
        <p:txBody>
          <a:bodyPr/>
          <a:lstStyle/>
          <a:p>
            <a:r>
              <a:rPr lang="en-US" dirty="0"/>
              <a:t>Azure Machine Learning </a:t>
            </a:r>
            <a:br>
              <a:rPr lang="en-US" dirty="0"/>
            </a:br>
            <a:r>
              <a:rPr lang="en-US" dirty="0" err="1"/>
              <a:t>MlOPs</a:t>
            </a:r>
            <a:r>
              <a:rPr lang="en-US" dirty="0"/>
              <a:t> &amp; RBAC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F6DA49F4-F5FC-1343-BC20-902999FC626A}"/>
              </a:ext>
            </a:extLst>
          </p:cNvPr>
          <p:cNvSpPr txBox="1">
            <a:spLocks/>
          </p:cNvSpPr>
          <p:nvPr/>
        </p:nvSpPr>
        <p:spPr>
          <a:xfrm>
            <a:off x="734845" y="5626777"/>
            <a:ext cx="5510784" cy="44319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GB" sz="1600" dirty="0"/>
              <a:t>Mufajjul Ali</a:t>
            </a:r>
          </a:p>
          <a:p>
            <a:r>
              <a:rPr lang="en-GB" sz="1600" dirty="0"/>
              <a:t>Alan Weaver</a:t>
            </a:r>
          </a:p>
        </p:txBody>
      </p:sp>
    </p:spTree>
    <p:extLst>
      <p:ext uri="{BB962C8B-B14F-4D97-AF65-F5344CB8AC3E}">
        <p14:creationId xmlns:p14="http://schemas.microsoft.com/office/powerpoint/2010/main" val="146643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2ABC5E-FB26-BE43-A911-D215738B3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Permission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8C57443-D628-AA43-952F-72DAB84EF64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102321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56729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39FC2-A726-3242-9BF3-307FDC8C3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 of the box roles 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9DFB4A74-7F09-E948-B99F-65DDEF04B76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27838839"/>
              </p:ext>
            </p:extLst>
          </p:nvPr>
        </p:nvGraphicFramePr>
        <p:xfrm>
          <a:off x="778933" y="1921227"/>
          <a:ext cx="10515600" cy="44118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725755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122F9423-F4B1-45D4-8445-E9991ECCB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108117-F6C7-314C-91E6-D02F0627E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897" y="518649"/>
            <a:ext cx="9882278" cy="1067634"/>
          </a:xfrm>
        </p:spPr>
        <p:txBody>
          <a:bodyPr anchor="ctr">
            <a:normAutofit/>
          </a:bodyPr>
          <a:lstStyle/>
          <a:p>
            <a:r>
              <a:rPr lang="en-US"/>
              <a:t>Data Scientist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70AE191-D2EA-45C9-A44D-830C188F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72021" y="628863"/>
            <a:ext cx="1128382" cy="847206"/>
            <a:chOff x="8183879" y="1000124"/>
            <a:chExt cx="1562267" cy="1172973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23A0E4C1-B7A6-4637-AC51-4A5AE3841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83879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F4E8C039-CC58-44F3-8A7B-E0A934C1D0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983979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16" name="Content Placeholder 2">
            <a:extLst>
              <a:ext uri="{FF2B5EF4-FFF2-40B4-BE49-F238E27FC236}">
                <a16:creationId xmlns:a16="http://schemas.microsoft.com/office/drawing/2014/main" id="{3B639163-D5CC-4AE9-BED5-9387072995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66889130"/>
              </p:ext>
            </p:extLst>
          </p:nvPr>
        </p:nvGraphicFramePr>
        <p:xfrm>
          <a:off x="629854" y="1860604"/>
          <a:ext cx="10907490" cy="4094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534740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98E982-472A-AD4B-95B1-565AB400D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573" y="320675"/>
            <a:ext cx="11407487" cy="1325563"/>
          </a:xfrm>
        </p:spPr>
        <p:txBody>
          <a:bodyPr>
            <a:normAutofit/>
          </a:bodyPr>
          <a:lstStyle/>
          <a:p>
            <a:r>
              <a:rPr lang="en-US" sz="5400"/>
              <a:t>Data Scientist Super Us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E32B78-23DD-4E77-8B9C-7779E3BF2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6124" cy="6858000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5D21FC7-1ED7-43DA-957B-F3B2685632E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89947951"/>
              </p:ext>
            </p:extLst>
          </p:nvPr>
        </p:nvGraphicFramePr>
        <p:xfrm>
          <a:off x="396574" y="1825625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67992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22F9423-F4B1-45D4-8445-E9991ECCB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DD9265-277C-8D4D-81E9-00F3965DF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897" y="518649"/>
            <a:ext cx="9882278" cy="1067634"/>
          </a:xfrm>
        </p:spPr>
        <p:txBody>
          <a:bodyPr anchor="ctr">
            <a:normAutofit/>
          </a:bodyPr>
          <a:lstStyle/>
          <a:p>
            <a:r>
              <a:rPr lang="en-US" dirty="0"/>
              <a:t>Office Data Scientis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0AE191-D2EA-45C9-A44D-830C188F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72021" y="628863"/>
            <a:ext cx="1128382" cy="847206"/>
            <a:chOff x="8183879" y="1000124"/>
            <a:chExt cx="1562267" cy="1172973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3A0E4C1-B7A6-4637-AC51-4A5AE3841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83879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F4E8C039-CC58-44F3-8A7B-E0A934C1D0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983979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41E7A7D8-BA83-4721-8FF0-3CA240B174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7610280"/>
              </p:ext>
            </p:extLst>
          </p:nvPr>
        </p:nvGraphicFramePr>
        <p:xfrm>
          <a:off x="629854" y="1860604"/>
          <a:ext cx="10907490" cy="4094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742853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29CCF2-E978-A94B-8D58-29849B5B9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573" y="320675"/>
            <a:ext cx="11407487" cy="1325563"/>
          </a:xfrm>
        </p:spPr>
        <p:txBody>
          <a:bodyPr>
            <a:normAutofit/>
          </a:bodyPr>
          <a:lstStyle/>
          <a:p>
            <a:r>
              <a:rPr lang="en-US" sz="5400"/>
              <a:t>IT Admi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E32B78-23DD-4E77-8B9C-7779E3BF2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6124" cy="6858000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165B976-E48D-4B8E-AB9F-E9468E1B5A6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36636303"/>
              </p:ext>
            </p:extLst>
          </p:nvPr>
        </p:nvGraphicFramePr>
        <p:xfrm>
          <a:off x="396574" y="1825625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332496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22F9423-F4B1-45D4-8445-E9991ECCB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10F5CC-DEDF-A04D-A18C-56C64FF73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897" y="518649"/>
            <a:ext cx="9882278" cy="1067634"/>
          </a:xfrm>
        </p:spPr>
        <p:txBody>
          <a:bodyPr anchor="ctr">
            <a:normAutofit/>
          </a:bodyPr>
          <a:lstStyle/>
          <a:p>
            <a:r>
              <a:rPr lang="en-US" dirty="0"/>
              <a:t>Workspace Admi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0AE191-D2EA-45C9-A44D-830C188F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72021" y="628863"/>
            <a:ext cx="1128382" cy="847206"/>
            <a:chOff x="8183879" y="1000124"/>
            <a:chExt cx="1562267" cy="1172973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3A0E4C1-B7A6-4637-AC51-4A5AE3841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83879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F4E8C039-CC58-44F3-8A7B-E0A934C1D0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983979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C24F9A8D-3C37-4405-ADCC-91078AB294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99155346"/>
              </p:ext>
            </p:extLst>
          </p:nvPr>
        </p:nvGraphicFramePr>
        <p:xfrm>
          <a:off x="642255" y="1586283"/>
          <a:ext cx="10907490" cy="4094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02698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95203-57DB-6044-BCA5-183C8AA31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29" y="629266"/>
            <a:ext cx="3667039" cy="1676603"/>
          </a:xfrm>
        </p:spPr>
        <p:txBody>
          <a:bodyPr>
            <a:normAutofit/>
          </a:bodyPr>
          <a:lstStyle/>
          <a:p>
            <a:r>
              <a:rPr lang="en-US" sz="3600"/>
              <a:t>Custom Ro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D8B397-7147-A74A-AB52-43C47368BC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931" y="2438401"/>
            <a:ext cx="3667036" cy="3779520"/>
          </a:xfrm>
        </p:spPr>
        <p:txBody>
          <a:bodyPr>
            <a:normAutofit/>
          </a:bodyPr>
          <a:lstStyle/>
          <a:p>
            <a:r>
              <a:rPr lang="en-GB" sz="1800"/>
              <a:t>Can be any combination of data or control plane actions</a:t>
            </a:r>
          </a:p>
          <a:p>
            <a:r>
              <a:rPr lang="en-GB" sz="1800"/>
              <a:t>Useful for creating scoped roles to a specific action like an MLOps Engineer.</a:t>
            </a:r>
          </a:p>
          <a:p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B38F72-8FC4-4001-8C67-FA6B86DEC7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6008" y="2"/>
            <a:ext cx="7555992" cy="685799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3C785FFD-4C96-7244-9117-23FA01F170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641"/>
          <a:stretch/>
        </p:blipFill>
        <p:spPr>
          <a:xfrm>
            <a:off x="5276088" y="640082"/>
            <a:ext cx="6276250" cy="557783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7773890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EE7702-A9B2-414C-8EC8-B2FC6FEDD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1F713BF-2779-384B-9C86-D61CDA0694F1}"/>
              </a:ext>
            </a:extLst>
          </p:cNvPr>
          <p:cNvSpPr/>
          <p:nvPr/>
        </p:nvSpPr>
        <p:spPr>
          <a:xfrm>
            <a:off x="1069383" y="1983783"/>
            <a:ext cx="2448732" cy="11313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V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2AF9611-0CC2-B943-ACC6-18260C451710}"/>
              </a:ext>
            </a:extLst>
          </p:cNvPr>
          <p:cNvSpPr/>
          <p:nvPr/>
        </p:nvSpPr>
        <p:spPr>
          <a:xfrm>
            <a:off x="1069383" y="3665352"/>
            <a:ext cx="2448732" cy="11313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Q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56E632-3C38-1649-8138-400445F8DDD6}"/>
              </a:ext>
            </a:extLst>
          </p:cNvPr>
          <p:cNvSpPr/>
          <p:nvPr/>
        </p:nvSpPr>
        <p:spPr>
          <a:xfrm>
            <a:off x="1069383" y="5235844"/>
            <a:ext cx="2448732" cy="11313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6315857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F6A17-363D-6F4D-B980-DC39BC9C2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y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DB4923-FAAB-F14A-8E99-AECA9F9F03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492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06D89-7A7D-4799-A0C0-DB517D09C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Bring ML models to productio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705294C-4F38-9A48-925D-0DF05CBFB020}"/>
              </a:ext>
            </a:extLst>
          </p:cNvPr>
          <p:cNvGrpSpPr/>
          <p:nvPr/>
        </p:nvGrpSpPr>
        <p:grpSpPr>
          <a:xfrm>
            <a:off x="2241783" y="1784162"/>
            <a:ext cx="9365000" cy="3108350"/>
            <a:chOff x="2400510" y="1129116"/>
            <a:chExt cx="9552788" cy="442383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FD9FDCD-10D2-4415-B74A-DEB77B857915}"/>
                </a:ext>
              </a:extLst>
            </p:cNvPr>
            <p:cNvSpPr/>
            <p:nvPr/>
          </p:nvSpPr>
          <p:spPr bwMode="auto">
            <a:xfrm>
              <a:off x="2400510" y="2034958"/>
              <a:ext cx="9552788" cy="3517991"/>
            </a:xfrm>
            <a:prstGeom prst="rect">
              <a:avLst/>
            </a:prstGeom>
            <a:noFill/>
            <a:ln w="19050">
              <a:solidFill>
                <a:srgbClr val="080808"/>
              </a:solidFill>
              <a:prstDash val="sys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903361F-EC5F-4977-AC14-181D9F1DC475}"/>
                </a:ext>
              </a:extLst>
            </p:cNvPr>
            <p:cNvSpPr txBox="1"/>
            <p:nvPr/>
          </p:nvSpPr>
          <p:spPr>
            <a:xfrm>
              <a:off x="4411493" y="1129116"/>
              <a:ext cx="5410200" cy="39422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algn="ctr" defTabSz="932742">
                <a:spcBef>
                  <a:spcPct val="0"/>
                </a:spcBef>
                <a:defRPr>
                  <a:solidFill>
                    <a:schemeClr val="accent2"/>
                  </a:solidFill>
                  <a:latin typeface="Segoe UI Semibold"/>
                </a:defRPr>
              </a:lvl1pPr>
            </a:lstStyle>
            <a:p>
              <a:pPr marL="0" marR="0" lvl="0" indent="0" algn="ctr" defTabSz="93274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Azure Machine Learning service 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9BC5F863-783D-584C-BF08-EC14C4A34BD6}"/>
              </a:ext>
            </a:extLst>
          </p:cNvPr>
          <p:cNvSpPr txBox="1"/>
          <p:nvPr/>
        </p:nvSpPr>
        <p:spPr>
          <a:xfrm>
            <a:off x="2423944" y="2660749"/>
            <a:ext cx="1616867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Author Experiment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1D524F0-88F6-2A4C-9299-BDCE5CB9ABBB}"/>
              </a:ext>
            </a:extLst>
          </p:cNvPr>
          <p:cNvSpPr txBox="1"/>
          <p:nvPr/>
        </p:nvSpPr>
        <p:spPr>
          <a:xfrm>
            <a:off x="2496045" y="4385968"/>
            <a:ext cx="1484756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utomated ML &amp; ML Pipeline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AFD5DBC-A632-EF4E-92E9-E5C2A26AFB4B}"/>
              </a:ext>
            </a:extLst>
          </p:cNvPr>
          <p:cNvSpPr txBox="1"/>
          <p:nvPr/>
        </p:nvSpPr>
        <p:spPr>
          <a:xfrm>
            <a:off x="6012159" y="2652211"/>
            <a:ext cx="1705996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Package &amp; Validat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516BF40-CFE2-A541-95C5-5ACA01424598}"/>
              </a:ext>
            </a:extLst>
          </p:cNvPr>
          <p:cNvSpPr txBox="1"/>
          <p:nvPr/>
        </p:nvSpPr>
        <p:spPr>
          <a:xfrm>
            <a:off x="6185614" y="4367415"/>
            <a:ext cx="1583472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latin typeface="Segoe UI"/>
              </a:rPr>
              <a:t>Package &amp; certify model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E063BB0-6214-6849-B11A-BE44572C2AAC}"/>
              </a:ext>
            </a:extLst>
          </p:cNvPr>
          <p:cNvSpPr txBox="1"/>
          <p:nvPr/>
        </p:nvSpPr>
        <p:spPr>
          <a:xfrm>
            <a:off x="4404845" y="2647546"/>
            <a:ext cx="1404348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Train Model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78E796D-37D7-9748-9748-3CD07B70ADE5}"/>
              </a:ext>
            </a:extLst>
          </p:cNvPr>
          <p:cNvSpPr txBox="1"/>
          <p:nvPr/>
        </p:nvSpPr>
        <p:spPr>
          <a:xfrm>
            <a:off x="4407765" y="4385968"/>
            <a:ext cx="1398508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zure ML Comput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78244BD-2414-1B48-81F2-A9CC0F26EBE0}"/>
              </a:ext>
            </a:extLst>
          </p:cNvPr>
          <p:cNvSpPr txBox="1"/>
          <p:nvPr/>
        </p:nvSpPr>
        <p:spPr>
          <a:xfrm>
            <a:off x="9976919" y="2651132"/>
            <a:ext cx="1404348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Monitor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D32A4B9-71F2-5D43-97E2-B72877091E6B}"/>
              </a:ext>
            </a:extLst>
          </p:cNvPr>
          <p:cNvSpPr txBox="1"/>
          <p:nvPr/>
        </p:nvSpPr>
        <p:spPr>
          <a:xfrm>
            <a:off x="10023072" y="4368521"/>
            <a:ext cx="1312040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Monitor models &amp; analyze drif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CB10599-7CBA-7542-958E-70E55354D169}"/>
              </a:ext>
            </a:extLst>
          </p:cNvPr>
          <p:cNvGrpSpPr/>
          <p:nvPr/>
        </p:nvGrpSpPr>
        <p:grpSpPr>
          <a:xfrm>
            <a:off x="1590198" y="2293935"/>
            <a:ext cx="1011376" cy="2702832"/>
            <a:chOff x="1859083" y="2339433"/>
            <a:chExt cx="1031656" cy="3486866"/>
          </a:xfrm>
        </p:grpSpPr>
        <p:sp>
          <p:nvSpPr>
            <p:cNvPr id="150" name="Right Bracket 149">
              <a:extLst>
                <a:ext uri="{FF2B5EF4-FFF2-40B4-BE49-F238E27FC236}">
                  <a16:creationId xmlns:a16="http://schemas.microsoft.com/office/drawing/2014/main" id="{FF53469C-FE82-4F49-AA8C-4FB79C521CDF}"/>
                </a:ext>
              </a:extLst>
            </p:cNvPr>
            <p:cNvSpPr/>
            <p:nvPr/>
          </p:nvSpPr>
          <p:spPr>
            <a:xfrm>
              <a:off x="1859083" y="2339433"/>
              <a:ext cx="152328" cy="3486866"/>
            </a:xfrm>
            <a:prstGeom prst="rightBracket">
              <a:avLst>
                <a:gd name="adj" fmla="val 0"/>
              </a:avLst>
            </a:prstGeom>
            <a:ln w="15875">
              <a:solidFill>
                <a:schemeClr val="tx2"/>
              </a:solidFill>
              <a:prstDash val="solid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52" name="Straight Arrow Connector 151">
              <a:extLst>
                <a:ext uri="{FF2B5EF4-FFF2-40B4-BE49-F238E27FC236}">
                  <a16:creationId xmlns:a16="http://schemas.microsoft.com/office/drawing/2014/main" id="{2E44C8EC-4994-A741-8CA0-E9ED60BE7D2D}"/>
                </a:ext>
              </a:extLst>
            </p:cNvPr>
            <p:cNvCxnSpPr>
              <a:cxnSpLocks/>
            </p:cNvCxnSpPr>
            <p:nvPr/>
          </p:nvCxnSpPr>
          <p:spPr>
            <a:xfrm>
              <a:off x="2011411" y="4023869"/>
              <a:ext cx="879328" cy="0"/>
            </a:xfrm>
            <a:prstGeom prst="straightConnector1">
              <a:avLst/>
            </a:prstGeom>
            <a:ln w="15875">
              <a:solidFill>
                <a:schemeClr val="tx2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F090B47A-F626-524A-99F9-192660801934}"/>
              </a:ext>
            </a:extLst>
          </p:cNvPr>
          <p:cNvCxnSpPr/>
          <p:nvPr/>
        </p:nvCxnSpPr>
        <p:spPr>
          <a:xfrm>
            <a:off x="4179749" y="3442049"/>
            <a:ext cx="0" cy="314928"/>
          </a:xfrm>
          <a:prstGeom prst="line">
            <a:avLst/>
          </a:pr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4D1D7C13-8E88-5B47-9934-ECD893A0AAC9}"/>
              </a:ext>
            </a:extLst>
          </p:cNvPr>
          <p:cNvCxnSpPr>
            <a:cxnSpLocks/>
          </p:cNvCxnSpPr>
          <p:nvPr/>
        </p:nvCxnSpPr>
        <p:spPr>
          <a:xfrm rot="16200000" flipV="1">
            <a:off x="4179749" y="3442049"/>
            <a:ext cx="0" cy="314928"/>
          </a:xfrm>
          <a:prstGeom prst="line">
            <a:avLst/>
          </a:prstGeom>
          <a:ln w="127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E386594D-A9C8-404D-95E0-98A9772E7D8C}"/>
              </a:ext>
            </a:extLst>
          </p:cNvPr>
          <p:cNvCxnSpPr>
            <a:cxnSpLocks/>
          </p:cNvCxnSpPr>
          <p:nvPr/>
        </p:nvCxnSpPr>
        <p:spPr>
          <a:xfrm>
            <a:off x="5823008" y="3599513"/>
            <a:ext cx="622221" cy="0"/>
          </a:xfrm>
          <a:prstGeom prst="straightConnector1">
            <a:avLst/>
          </a:prstGeom>
          <a:ln w="12700">
            <a:solidFill>
              <a:schemeClr val="tx2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>
            <a:extLst>
              <a:ext uri="{FF2B5EF4-FFF2-40B4-BE49-F238E27FC236}">
                <a16:creationId xmlns:a16="http://schemas.microsoft.com/office/drawing/2014/main" id="{E03F80B8-19C7-994F-8703-C999CCE3D213}"/>
              </a:ext>
            </a:extLst>
          </p:cNvPr>
          <p:cNvSpPr txBox="1"/>
          <p:nvPr/>
        </p:nvSpPr>
        <p:spPr>
          <a:xfrm>
            <a:off x="8082189" y="2671413"/>
            <a:ext cx="1404348" cy="2585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bold"/>
                <a:ea typeface="+mn-ea"/>
                <a:cs typeface="+mn-cs"/>
              </a:rPr>
              <a:t>Deploy &amp; Serve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C9BE1798-3784-1E43-A968-B0B0F9786687}"/>
              </a:ext>
            </a:extLst>
          </p:cNvPr>
          <p:cNvSpPr txBox="1"/>
          <p:nvPr/>
        </p:nvSpPr>
        <p:spPr>
          <a:xfrm>
            <a:off x="7992519" y="4379767"/>
            <a:ext cx="1583688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lang="en-US" sz="1200" spc="-10">
                <a:latin typeface="Segoe UI"/>
              </a:rPr>
              <a:t>Run inference at scale</a:t>
            </a:r>
            <a:endParaRPr kumimoji="0" lang="en-US" sz="1200" b="0" i="0" u="none" strike="noStrike" kern="1200" cap="none" spc="-10" normalizeH="0" baseline="0" noProof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F5BD7C1A-9F06-5D41-B81F-6803E2E1656F}"/>
              </a:ext>
            </a:extLst>
          </p:cNvPr>
          <p:cNvCxnSpPr>
            <a:cxnSpLocks/>
          </p:cNvCxnSpPr>
          <p:nvPr/>
        </p:nvCxnSpPr>
        <p:spPr>
          <a:xfrm>
            <a:off x="7493149" y="3599513"/>
            <a:ext cx="622221" cy="0"/>
          </a:xfrm>
          <a:prstGeom prst="straightConnector1">
            <a:avLst/>
          </a:prstGeom>
          <a:ln w="12700">
            <a:solidFill>
              <a:schemeClr val="tx2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6C9E399D-042F-DF46-A088-C9A90F5628D2}"/>
              </a:ext>
            </a:extLst>
          </p:cNvPr>
          <p:cNvCxnSpPr>
            <a:cxnSpLocks/>
          </p:cNvCxnSpPr>
          <p:nvPr/>
        </p:nvCxnSpPr>
        <p:spPr>
          <a:xfrm>
            <a:off x="9347723" y="3599513"/>
            <a:ext cx="622221" cy="0"/>
          </a:xfrm>
          <a:prstGeom prst="straightConnector1">
            <a:avLst/>
          </a:prstGeom>
          <a:ln w="12700">
            <a:solidFill>
              <a:schemeClr val="tx2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A7EA80DD-1349-CE42-930F-CA097783FE9A}"/>
              </a:ext>
            </a:extLst>
          </p:cNvPr>
          <p:cNvGrpSpPr/>
          <p:nvPr/>
        </p:nvGrpSpPr>
        <p:grpSpPr>
          <a:xfrm>
            <a:off x="4621379" y="3296038"/>
            <a:ext cx="971280" cy="774933"/>
            <a:chOff x="4211713" y="2341498"/>
            <a:chExt cx="1197761" cy="955644"/>
          </a:xfrm>
        </p:grpSpPr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44A25F46-C77F-6840-8627-A0DD7F108FB2}"/>
                </a:ext>
              </a:extLst>
            </p:cNvPr>
            <p:cNvGrpSpPr/>
            <p:nvPr/>
          </p:nvGrpSpPr>
          <p:grpSpPr>
            <a:xfrm>
              <a:off x="4273533" y="2402426"/>
              <a:ext cx="1079495" cy="840319"/>
              <a:chOff x="4273550" y="2402418"/>
              <a:chExt cx="1079500" cy="840315"/>
            </a:xfrm>
          </p:grpSpPr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EF9D1C09-1627-C944-BE57-080289F9C3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355600" cy="23283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EA242366-DF6D-064B-A074-8B4B9B13C1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97450" y="2413000"/>
                <a:ext cx="296333" cy="7217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CA678449-A5DF-9649-A21D-6DD3F0E41D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3143250"/>
                <a:ext cx="520700" cy="867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2DC9F23D-2CF0-E14A-A50C-FCF2FF3CB1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039783" y="2641600"/>
                <a:ext cx="300567" cy="241300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6" name="Straight Connector 195">
                <a:extLst>
                  <a:ext uri="{FF2B5EF4-FFF2-40B4-BE49-F238E27FC236}">
                    <a16:creationId xmlns:a16="http://schemas.microsoft.com/office/drawing/2014/main" id="{C9EE3954-A68A-F540-A358-C7FBE888E9F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13250" y="2413001"/>
                <a:ext cx="571500" cy="126999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6275C090-F8F3-CA44-AF03-D68DC25673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03233" y="2450099"/>
                <a:ext cx="251425" cy="248651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5FB90988-C77A-AC48-B8B4-8AFCF2C8B5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402418"/>
                <a:ext cx="232833" cy="821265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199" name="Straight Connector 198">
                <a:extLst>
                  <a:ext uri="{FF2B5EF4-FFF2-40B4-BE49-F238E27FC236}">
                    <a16:creationId xmlns:a16="http://schemas.microsoft.com/office/drawing/2014/main" id="{C1CC722E-1E1E-504E-B741-2804629E846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273550" y="2984500"/>
                <a:ext cx="495300" cy="2518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0" name="Straight Connector 199">
                <a:extLst>
                  <a:ext uri="{FF2B5EF4-FFF2-40B4-BE49-F238E27FC236}">
                    <a16:creationId xmlns:a16="http://schemas.microsoft.com/office/drawing/2014/main" id="{EF31C62B-D92C-ED4D-A4D0-E7F340FC77E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7483" y="2537884"/>
                <a:ext cx="647700" cy="338666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59680375-8A17-6E4E-B360-780B234DB57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77783" y="2874433"/>
                <a:ext cx="770467" cy="107950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02E7E9F6-A893-2A4C-AC53-4FBAD961DEC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13250" y="2531533"/>
                <a:ext cx="353483" cy="698500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3" name="Straight Connector 202">
                <a:extLst>
                  <a:ext uri="{FF2B5EF4-FFF2-40B4-BE49-F238E27FC236}">
                    <a16:creationId xmlns:a16="http://schemas.microsoft.com/office/drawing/2014/main" id="{A7C581AB-12E9-0449-B778-B5A1D3397E4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715933" y="2698750"/>
                <a:ext cx="50800" cy="5439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4" name="Straight Connector 203">
                <a:extLst>
                  <a:ext uri="{FF2B5EF4-FFF2-40B4-BE49-F238E27FC236}">
                    <a16:creationId xmlns:a16="http://schemas.microsoft.com/office/drawing/2014/main" id="{350A89A6-4525-714F-8F5D-A80A84C49C7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5052483" y="2899834"/>
                <a:ext cx="234950" cy="218016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  <p:cxnSp>
            <p:nvCxnSpPr>
              <p:cNvPr id="205" name="Straight Connector 204">
                <a:extLst>
                  <a:ext uri="{FF2B5EF4-FFF2-40B4-BE49-F238E27FC236}">
                    <a16:creationId xmlns:a16="http://schemas.microsoft.com/office/drawing/2014/main" id="{AD1893D1-7CA5-8F4A-8B21-648544D90C4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62500" y="2876550"/>
                <a:ext cx="292101" cy="340783"/>
              </a:xfrm>
              <a:prstGeom prst="line">
                <a:avLst/>
              </a:prstGeom>
              <a:noFill/>
              <a:ln w="19050" cap="rnd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sp>
          <p:nvSpPr>
            <p:cNvPr id="184" name="Oval 19">
              <a:extLst>
                <a:ext uri="{FF2B5EF4-FFF2-40B4-BE49-F238E27FC236}">
                  <a16:creationId xmlns:a16="http://schemas.microsoft.com/office/drawing/2014/main" id="{11932043-7AFA-DD40-871F-D269A23CB7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149" y="2341498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5" name="Oval 19">
              <a:extLst>
                <a:ext uri="{FF2B5EF4-FFF2-40B4-BE49-F238E27FC236}">
                  <a16:creationId xmlns:a16="http://schemas.microsoft.com/office/drawing/2014/main" id="{D48FEF75-3D00-954A-A5EC-52E6A16C66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2374" y="2570826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6" name="Oval 19">
              <a:extLst>
                <a:ext uri="{FF2B5EF4-FFF2-40B4-BE49-F238E27FC236}">
                  <a16:creationId xmlns:a16="http://schemas.microsoft.com/office/drawing/2014/main" id="{BDBB498C-4EAC-0F45-88D2-0484CFD517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0657" y="2812317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7" name="Oval 19">
              <a:extLst>
                <a:ext uri="{FF2B5EF4-FFF2-40B4-BE49-F238E27FC236}">
                  <a16:creationId xmlns:a16="http://schemas.microsoft.com/office/drawing/2014/main" id="{DA9D7725-0C89-0241-9BB2-07EBBC028B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5723" y="3059804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8" name="Oval 19">
              <a:extLst>
                <a:ext uri="{FF2B5EF4-FFF2-40B4-BE49-F238E27FC236}">
                  <a16:creationId xmlns:a16="http://schemas.microsoft.com/office/drawing/2014/main" id="{ABA3F361-88C2-DF44-BAE5-7F4167633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1629" y="3160041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9" name="Oval 19">
              <a:extLst>
                <a:ext uri="{FF2B5EF4-FFF2-40B4-BE49-F238E27FC236}">
                  <a16:creationId xmlns:a16="http://schemas.microsoft.com/office/drawing/2014/main" id="{6D7CF8EF-8BB4-B54F-B92F-2A7C1E49CE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713" y="2912176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0" name="Oval 19">
              <a:extLst>
                <a:ext uri="{FF2B5EF4-FFF2-40B4-BE49-F238E27FC236}">
                  <a16:creationId xmlns:a16="http://schemas.microsoft.com/office/drawing/2014/main" id="{D8653651-93F0-A944-8D46-1683CCE48A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3628" y="2626343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91" name="Oval 19">
              <a:extLst>
                <a:ext uri="{FF2B5EF4-FFF2-40B4-BE49-F238E27FC236}">
                  <a16:creationId xmlns:a16="http://schemas.microsoft.com/office/drawing/2014/main" id="{8AEE714B-780C-CC4C-A2D7-77C68FA0A5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492" y="2471020"/>
              <a:ext cx="137100" cy="137101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C526A10-D9B3-4920-AFD8-29F80208CA6A}"/>
              </a:ext>
            </a:extLst>
          </p:cNvPr>
          <p:cNvGrpSpPr/>
          <p:nvPr/>
        </p:nvGrpSpPr>
        <p:grpSpPr>
          <a:xfrm>
            <a:off x="6754968" y="3715598"/>
            <a:ext cx="426930" cy="435510"/>
            <a:chOff x="6956208" y="3715598"/>
            <a:chExt cx="426930" cy="435510"/>
          </a:xfrm>
        </p:grpSpPr>
        <p:grpSp>
          <p:nvGrpSpPr>
            <p:cNvPr id="262" name="Group 261">
              <a:extLst>
                <a:ext uri="{FF2B5EF4-FFF2-40B4-BE49-F238E27FC236}">
                  <a16:creationId xmlns:a16="http://schemas.microsoft.com/office/drawing/2014/main" id="{053B25D8-0030-4780-AF2C-30CDC6A450EA}"/>
                </a:ext>
              </a:extLst>
            </p:cNvPr>
            <p:cNvGrpSpPr/>
            <p:nvPr/>
          </p:nvGrpSpPr>
          <p:grpSpPr>
            <a:xfrm>
              <a:off x="6956208" y="3715598"/>
              <a:ext cx="426930" cy="252673"/>
              <a:chOff x="944563" y="1663701"/>
              <a:chExt cx="155575" cy="92075"/>
            </a:xfrm>
          </p:grpSpPr>
          <p:sp>
            <p:nvSpPr>
              <p:cNvPr id="263" name="Oval 19">
                <a:extLst>
                  <a:ext uri="{FF2B5EF4-FFF2-40B4-BE49-F238E27FC236}">
                    <a16:creationId xmlns:a16="http://schemas.microsoft.com/office/drawing/2014/main" id="{1D55D4D6-1162-4176-8970-2559CFE8E4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0438" y="1663701"/>
                <a:ext cx="93663" cy="92075"/>
              </a:xfrm>
              <a:prstGeom prst="ellipse">
                <a:avLst/>
              </a:prstGeom>
              <a:solidFill>
                <a:srgbClr val="50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4" name="Freeform 20">
                <a:extLst>
                  <a:ext uri="{FF2B5EF4-FFF2-40B4-BE49-F238E27FC236}">
                    <a16:creationId xmlns:a16="http://schemas.microsoft.com/office/drawing/2014/main" id="{D76A4F28-05CE-4D38-B810-2585E86CF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4563" y="1720851"/>
                <a:ext cx="155575" cy="34925"/>
              </a:xfrm>
              <a:custGeom>
                <a:avLst/>
                <a:gdLst>
                  <a:gd name="T0" fmla="*/ 379 w 427"/>
                  <a:gd name="T1" fmla="*/ 96 h 96"/>
                  <a:gd name="T2" fmla="*/ 48 w 427"/>
                  <a:gd name="T3" fmla="*/ 96 h 96"/>
                  <a:gd name="T4" fmla="*/ 0 w 427"/>
                  <a:gd name="T5" fmla="*/ 48 h 96"/>
                  <a:gd name="T6" fmla="*/ 0 w 427"/>
                  <a:gd name="T7" fmla="*/ 48 h 96"/>
                  <a:gd name="T8" fmla="*/ 48 w 427"/>
                  <a:gd name="T9" fmla="*/ 0 h 96"/>
                  <a:gd name="T10" fmla="*/ 379 w 427"/>
                  <a:gd name="T11" fmla="*/ 0 h 96"/>
                  <a:gd name="T12" fmla="*/ 427 w 427"/>
                  <a:gd name="T13" fmla="*/ 48 h 96"/>
                  <a:gd name="T14" fmla="*/ 427 w 427"/>
                  <a:gd name="T15" fmla="*/ 48 h 96"/>
                  <a:gd name="T16" fmla="*/ 379 w 427"/>
                  <a:gd name="T17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7" h="96">
                    <a:moveTo>
                      <a:pt x="379" y="96"/>
                    </a:moveTo>
                    <a:cubicBezTo>
                      <a:pt x="48" y="96"/>
                      <a:pt x="48" y="96"/>
                      <a:pt x="48" y="96"/>
                    </a:cubicBezTo>
                    <a:cubicBezTo>
                      <a:pt x="22" y="96"/>
                      <a:pt x="0" y="75"/>
                      <a:pt x="0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21"/>
                      <a:pt x="22" y="0"/>
                      <a:pt x="48" y="0"/>
                    </a:cubicBezTo>
                    <a:cubicBezTo>
                      <a:pt x="379" y="0"/>
                      <a:pt x="379" y="0"/>
                      <a:pt x="379" y="0"/>
                    </a:cubicBezTo>
                    <a:cubicBezTo>
                      <a:pt x="406" y="0"/>
                      <a:pt x="427" y="21"/>
                      <a:pt x="427" y="48"/>
                    </a:cubicBezTo>
                    <a:cubicBezTo>
                      <a:pt x="427" y="48"/>
                      <a:pt x="427" y="48"/>
                      <a:pt x="427" y="48"/>
                    </a:cubicBezTo>
                    <a:cubicBezTo>
                      <a:pt x="427" y="75"/>
                      <a:pt x="406" y="96"/>
                      <a:pt x="379" y="96"/>
                    </a:cubicBezTo>
                    <a:close/>
                  </a:path>
                </a:pathLst>
              </a:custGeom>
              <a:solidFill>
                <a:srgbClr val="50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5" name="Oval 21">
                <a:extLst>
                  <a:ext uri="{FF2B5EF4-FFF2-40B4-BE49-F238E27FC236}">
                    <a16:creationId xmlns:a16="http://schemas.microsoft.com/office/drawing/2014/main" id="{A2664C43-873F-4CB2-ABDE-1020379616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2350" y="1679576"/>
                <a:ext cx="61913" cy="60325"/>
              </a:xfrm>
              <a:prstGeom prst="ellipse">
                <a:avLst/>
              </a:prstGeom>
              <a:solidFill>
                <a:srgbClr val="50E6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4279F19F-B223-D448-A75C-3DE4E5A588E7}"/>
                </a:ext>
              </a:extLst>
            </p:cNvPr>
            <p:cNvGrpSpPr/>
            <p:nvPr/>
          </p:nvGrpSpPr>
          <p:grpSpPr>
            <a:xfrm>
              <a:off x="7066398" y="3812036"/>
              <a:ext cx="201498" cy="339072"/>
              <a:chOff x="8388221" y="1136645"/>
              <a:chExt cx="138521" cy="233096"/>
            </a:xfrm>
          </p:grpSpPr>
          <p:sp>
            <p:nvSpPr>
              <p:cNvPr id="209" name="Freeform 9">
                <a:extLst>
                  <a:ext uri="{FF2B5EF4-FFF2-40B4-BE49-F238E27FC236}">
                    <a16:creationId xmlns:a16="http://schemas.microsoft.com/office/drawing/2014/main" id="{402D6196-E54B-1A41-8513-9DA6617A4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4113" y="1136645"/>
                <a:ext cx="66737" cy="45719"/>
              </a:xfrm>
              <a:prstGeom prst="triangle">
                <a:avLst/>
              </a:prstGeom>
              <a:solidFill>
                <a:schemeClr val="bg1"/>
              </a:solidFill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210" name="Line 10">
                <a:extLst>
                  <a:ext uri="{FF2B5EF4-FFF2-40B4-BE49-F238E27FC236}">
                    <a16:creationId xmlns:a16="http://schemas.microsoft.com/office/drawing/2014/main" id="{1495EB79-7AE0-6343-BBA6-AFF5CA16B6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457481" y="1178133"/>
                <a:ext cx="0" cy="53087"/>
              </a:xfrm>
              <a:prstGeom prst="line">
                <a:avLst/>
              </a:prstGeom>
              <a:noFill/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grpSp>
            <p:nvGrpSpPr>
              <p:cNvPr id="211" name="Group 210">
                <a:extLst>
                  <a:ext uri="{FF2B5EF4-FFF2-40B4-BE49-F238E27FC236}">
                    <a16:creationId xmlns:a16="http://schemas.microsoft.com/office/drawing/2014/main" id="{7365A068-1384-D041-B4E9-08CD6ADB04D2}"/>
                  </a:ext>
                </a:extLst>
              </p:cNvPr>
              <p:cNvGrpSpPr/>
              <p:nvPr/>
            </p:nvGrpSpPr>
            <p:grpSpPr>
              <a:xfrm>
                <a:off x="8388221" y="1230861"/>
                <a:ext cx="138521" cy="138880"/>
                <a:chOff x="9666704" y="1562670"/>
                <a:chExt cx="193453" cy="193955"/>
              </a:xfrm>
            </p:grpSpPr>
            <p:sp>
              <p:nvSpPr>
                <p:cNvPr id="212" name="Rectangle 5">
                  <a:extLst>
                    <a:ext uri="{FF2B5EF4-FFF2-40B4-BE49-F238E27FC236}">
                      <a16:creationId xmlns:a16="http://schemas.microsoft.com/office/drawing/2014/main" id="{4681984D-97B0-9440-85CF-D900B0316B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66704" y="1562670"/>
                  <a:ext cx="193453" cy="193955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Line 6">
                  <a:extLst>
                    <a:ext uri="{FF2B5EF4-FFF2-40B4-BE49-F238E27FC236}">
                      <a16:creationId xmlns:a16="http://schemas.microsoft.com/office/drawing/2014/main" id="{81D1E3D3-3822-4545-82C1-05CA9F889AB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10922" y="1591663"/>
                  <a:ext cx="0" cy="135969"/>
                </a:xfrm>
                <a:prstGeom prst="line">
                  <a:avLst/>
                </a:prstGeom>
                <a:noFill/>
                <a:ln w="1905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Line 7">
                  <a:extLst>
                    <a:ext uri="{FF2B5EF4-FFF2-40B4-BE49-F238E27FC236}">
                      <a16:creationId xmlns:a16="http://schemas.microsoft.com/office/drawing/2014/main" id="{BAFF0013-7067-6047-8DDC-B41839D987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63983" y="1591663"/>
                  <a:ext cx="0" cy="135969"/>
                </a:xfrm>
                <a:prstGeom prst="line">
                  <a:avLst/>
                </a:prstGeom>
                <a:noFill/>
                <a:ln w="1905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Line 8">
                  <a:extLst>
                    <a:ext uri="{FF2B5EF4-FFF2-40B4-BE49-F238E27FC236}">
                      <a16:creationId xmlns:a16="http://schemas.microsoft.com/office/drawing/2014/main" id="{2F13976F-6E03-654A-BCEB-74BF74DBC7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812623" y="1591663"/>
                  <a:ext cx="0" cy="135969"/>
                </a:xfrm>
                <a:prstGeom prst="line">
                  <a:avLst/>
                </a:prstGeom>
                <a:noFill/>
                <a:ln w="1905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0B3F5ED-978A-464F-87E2-7BF8132201B4}"/>
              </a:ext>
            </a:extLst>
          </p:cNvPr>
          <p:cNvGrpSpPr/>
          <p:nvPr/>
        </p:nvGrpSpPr>
        <p:grpSpPr>
          <a:xfrm>
            <a:off x="8486469" y="3781231"/>
            <a:ext cx="595789" cy="428753"/>
            <a:chOff x="8821397" y="3781231"/>
            <a:chExt cx="595789" cy="428753"/>
          </a:xfrm>
        </p:grpSpPr>
        <p:sp>
          <p:nvSpPr>
            <p:cNvPr id="217" name="Freeform 15">
              <a:extLst>
                <a:ext uri="{FF2B5EF4-FFF2-40B4-BE49-F238E27FC236}">
                  <a16:creationId xmlns:a16="http://schemas.microsoft.com/office/drawing/2014/main" id="{6987A0D7-B489-DF40-83C4-9891AFCF7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9516" y="3925903"/>
              <a:ext cx="88119" cy="139411"/>
            </a:xfrm>
            <a:custGeom>
              <a:avLst/>
              <a:gdLst>
                <a:gd name="T0" fmla="*/ 0 w 400"/>
                <a:gd name="T1" fmla="*/ 0 h 632"/>
                <a:gd name="T2" fmla="*/ 0 w 400"/>
                <a:gd name="T3" fmla="*/ 632 h 632"/>
                <a:gd name="T4" fmla="*/ 400 w 400"/>
                <a:gd name="T5" fmla="*/ 487 h 632"/>
                <a:gd name="T6" fmla="*/ 400 w 400"/>
                <a:gd name="T7" fmla="*/ 159 h 632"/>
                <a:gd name="T8" fmla="*/ 0 w 40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2">
                  <a:moveTo>
                    <a:pt x="0" y="0"/>
                  </a:moveTo>
                  <a:lnTo>
                    <a:pt x="0" y="632"/>
                  </a:lnTo>
                  <a:lnTo>
                    <a:pt x="400" y="487"/>
                  </a:lnTo>
                  <a:lnTo>
                    <a:pt x="400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18" name="Freeform 16">
              <a:extLst>
                <a:ext uri="{FF2B5EF4-FFF2-40B4-BE49-F238E27FC236}">
                  <a16:creationId xmlns:a16="http://schemas.microsoft.com/office/drawing/2014/main" id="{CD66A956-FA79-B149-A3E1-5FDA38AE1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1397" y="3925903"/>
              <a:ext cx="71021" cy="139411"/>
            </a:xfrm>
            <a:custGeom>
              <a:avLst/>
              <a:gdLst>
                <a:gd name="T0" fmla="*/ 324 w 324"/>
                <a:gd name="T1" fmla="*/ 0 h 632"/>
                <a:gd name="T2" fmla="*/ 324 w 324"/>
                <a:gd name="T3" fmla="*/ 632 h 632"/>
                <a:gd name="T4" fmla="*/ 0 w 324"/>
                <a:gd name="T5" fmla="*/ 527 h 632"/>
                <a:gd name="T6" fmla="*/ 0 w 324"/>
                <a:gd name="T7" fmla="*/ 135 h 632"/>
                <a:gd name="T8" fmla="*/ 324 w 324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632">
                  <a:moveTo>
                    <a:pt x="324" y="0"/>
                  </a:moveTo>
                  <a:lnTo>
                    <a:pt x="324" y="632"/>
                  </a:lnTo>
                  <a:lnTo>
                    <a:pt x="0" y="527"/>
                  </a:lnTo>
                  <a:lnTo>
                    <a:pt x="0" y="135"/>
                  </a:lnTo>
                  <a:lnTo>
                    <a:pt x="324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19" name="Line 17">
              <a:extLst>
                <a:ext uri="{FF2B5EF4-FFF2-40B4-BE49-F238E27FC236}">
                  <a16:creationId xmlns:a16="http://schemas.microsoft.com/office/drawing/2014/main" id="{285F7E5A-8F25-7C45-A0C9-F6B1F0666B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68745" y="3936424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0" name="Line 18">
              <a:extLst>
                <a:ext uri="{FF2B5EF4-FFF2-40B4-BE49-F238E27FC236}">
                  <a16:creationId xmlns:a16="http://schemas.microsoft.com/office/drawing/2014/main" id="{3423EC03-D50A-6E40-AB3F-7E814A7D43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1125" y="3948261"/>
              <a:ext cx="0" cy="9995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1" name="Freeform 19">
              <a:extLst>
                <a:ext uri="{FF2B5EF4-FFF2-40B4-BE49-F238E27FC236}">
                  <a16:creationId xmlns:a16="http://schemas.microsoft.com/office/drawing/2014/main" id="{B85B84F9-F600-6943-B05E-B30884E0A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9949" y="3925903"/>
              <a:ext cx="86803" cy="139411"/>
            </a:xfrm>
            <a:custGeom>
              <a:avLst/>
              <a:gdLst>
                <a:gd name="T0" fmla="*/ 0 w 399"/>
                <a:gd name="T1" fmla="*/ 0 h 632"/>
                <a:gd name="T2" fmla="*/ 0 w 399"/>
                <a:gd name="T3" fmla="*/ 632 h 632"/>
                <a:gd name="T4" fmla="*/ 399 w 399"/>
                <a:gd name="T5" fmla="*/ 487 h 632"/>
                <a:gd name="T6" fmla="*/ 399 w 399"/>
                <a:gd name="T7" fmla="*/ 159 h 632"/>
                <a:gd name="T8" fmla="*/ 0 w 399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632">
                  <a:moveTo>
                    <a:pt x="0" y="0"/>
                  </a:moveTo>
                  <a:lnTo>
                    <a:pt x="0" y="632"/>
                  </a:lnTo>
                  <a:lnTo>
                    <a:pt x="399" y="487"/>
                  </a:lnTo>
                  <a:lnTo>
                    <a:pt x="399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2" name="Freeform 20">
              <a:extLst>
                <a:ext uri="{FF2B5EF4-FFF2-40B4-BE49-F238E27FC236}">
                  <a16:creationId xmlns:a16="http://schemas.microsoft.com/office/drawing/2014/main" id="{2C9771DC-E0CB-5F42-BCE6-9355E4F26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0515" y="3925903"/>
              <a:ext cx="71021" cy="139411"/>
            </a:xfrm>
            <a:custGeom>
              <a:avLst/>
              <a:gdLst>
                <a:gd name="T0" fmla="*/ 323 w 323"/>
                <a:gd name="T1" fmla="*/ 0 h 632"/>
                <a:gd name="T2" fmla="*/ 323 w 323"/>
                <a:gd name="T3" fmla="*/ 632 h 632"/>
                <a:gd name="T4" fmla="*/ 0 w 323"/>
                <a:gd name="T5" fmla="*/ 527 h 632"/>
                <a:gd name="T6" fmla="*/ 0 w 323"/>
                <a:gd name="T7" fmla="*/ 135 h 632"/>
                <a:gd name="T8" fmla="*/ 323 w 323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632">
                  <a:moveTo>
                    <a:pt x="323" y="0"/>
                  </a:moveTo>
                  <a:lnTo>
                    <a:pt x="323" y="632"/>
                  </a:lnTo>
                  <a:lnTo>
                    <a:pt x="0" y="527"/>
                  </a:lnTo>
                  <a:lnTo>
                    <a:pt x="0" y="135"/>
                  </a:lnTo>
                  <a:lnTo>
                    <a:pt x="323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3" name="Line 21">
              <a:extLst>
                <a:ext uri="{FF2B5EF4-FFF2-40B4-BE49-F238E27FC236}">
                  <a16:creationId xmlns:a16="http://schemas.microsoft.com/office/drawing/2014/main" id="{103467E8-3E53-0141-8295-599741A900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862" y="3936424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4" name="Line 22">
              <a:extLst>
                <a:ext uri="{FF2B5EF4-FFF2-40B4-BE49-F238E27FC236}">
                  <a16:creationId xmlns:a16="http://schemas.microsoft.com/office/drawing/2014/main" id="{C31A446B-1A86-774C-BA90-429848DEF2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51559" y="3948261"/>
              <a:ext cx="0" cy="9995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5" name="Freeform 23">
              <a:extLst>
                <a:ext uri="{FF2B5EF4-FFF2-40B4-BE49-F238E27FC236}">
                  <a16:creationId xmlns:a16="http://schemas.microsoft.com/office/drawing/2014/main" id="{CBBEF42B-20EE-B94D-B58E-B789224C9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0383" y="3925903"/>
              <a:ext cx="86803" cy="139411"/>
            </a:xfrm>
            <a:custGeom>
              <a:avLst/>
              <a:gdLst>
                <a:gd name="T0" fmla="*/ 0 w 400"/>
                <a:gd name="T1" fmla="*/ 0 h 632"/>
                <a:gd name="T2" fmla="*/ 0 w 400"/>
                <a:gd name="T3" fmla="*/ 632 h 632"/>
                <a:gd name="T4" fmla="*/ 400 w 400"/>
                <a:gd name="T5" fmla="*/ 487 h 632"/>
                <a:gd name="T6" fmla="*/ 400 w 400"/>
                <a:gd name="T7" fmla="*/ 159 h 632"/>
                <a:gd name="T8" fmla="*/ 0 w 40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2">
                  <a:moveTo>
                    <a:pt x="0" y="0"/>
                  </a:moveTo>
                  <a:lnTo>
                    <a:pt x="0" y="632"/>
                  </a:lnTo>
                  <a:lnTo>
                    <a:pt x="400" y="487"/>
                  </a:lnTo>
                  <a:lnTo>
                    <a:pt x="400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6" name="Freeform 24">
              <a:extLst>
                <a:ext uri="{FF2B5EF4-FFF2-40B4-BE49-F238E27FC236}">
                  <a16:creationId xmlns:a16="http://schemas.microsoft.com/office/drawing/2014/main" id="{B7637D00-5D55-A84F-9C42-3F98804BA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0948" y="3925903"/>
              <a:ext cx="71021" cy="139411"/>
            </a:xfrm>
            <a:custGeom>
              <a:avLst/>
              <a:gdLst>
                <a:gd name="T0" fmla="*/ 325 w 325"/>
                <a:gd name="T1" fmla="*/ 0 h 632"/>
                <a:gd name="T2" fmla="*/ 325 w 325"/>
                <a:gd name="T3" fmla="*/ 632 h 632"/>
                <a:gd name="T4" fmla="*/ 0 w 325"/>
                <a:gd name="T5" fmla="*/ 527 h 632"/>
                <a:gd name="T6" fmla="*/ 0 w 325"/>
                <a:gd name="T7" fmla="*/ 135 h 632"/>
                <a:gd name="T8" fmla="*/ 325 w 325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632">
                  <a:moveTo>
                    <a:pt x="325" y="0"/>
                  </a:moveTo>
                  <a:lnTo>
                    <a:pt x="325" y="632"/>
                  </a:lnTo>
                  <a:lnTo>
                    <a:pt x="0" y="527"/>
                  </a:lnTo>
                  <a:lnTo>
                    <a:pt x="0" y="135"/>
                  </a:lnTo>
                  <a:lnTo>
                    <a:pt x="325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7" name="Line 25">
              <a:extLst>
                <a:ext uri="{FF2B5EF4-FFF2-40B4-BE49-F238E27FC236}">
                  <a16:creationId xmlns:a16="http://schemas.microsoft.com/office/drawing/2014/main" id="{A0D166A1-6D3B-E14B-92C7-E91E9EF1EF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8296" y="3936424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8" name="Line 26">
              <a:extLst>
                <a:ext uri="{FF2B5EF4-FFF2-40B4-BE49-F238E27FC236}">
                  <a16:creationId xmlns:a16="http://schemas.microsoft.com/office/drawing/2014/main" id="{4930E443-AE59-9C4C-8DB5-20639747E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61992" y="3948261"/>
              <a:ext cx="0" cy="9995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29" name="Freeform 27">
              <a:extLst>
                <a:ext uri="{FF2B5EF4-FFF2-40B4-BE49-F238E27FC236}">
                  <a16:creationId xmlns:a16="http://schemas.microsoft.com/office/drawing/2014/main" id="{4A977635-69DF-B84F-B50C-755B93AA7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4732" y="4071889"/>
              <a:ext cx="88119" cy="138095"/>
            </a:xfrm>
            <a:custGeom>
              <a:avLst/>
              <a:gdLst>
                <a:gd name="T0" fmla="*/ 0 w 401"/>
                <a:gd name="T1" fmla="*/ 0 h 632"/>
                <a:gd name="T2" fmla="*/ 0 w 401"/>
                <a:gd name="T3" fmla="*/ 632 h 632"/>
                <a:gd name="T4" fmla="*/ 401 w 401"/>
                <a:gd name="T5" fmla="*/ 487 h 632"/>
                <a:gd name="T6" fmla="*/ 401 w 401"/>
                <a:gd name="T7" fmla="*/ 159 h 632"/>
                <a:gd name="T8" fmla="*/ 0 w 401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632">
                  <a:moveTo>
                    <a:pt x="0" y="0"/>
                  </a:moveTo>
                  <a:lnTo>
                    <a:pt x="0" y="632"/>
                  </a:lnTo>
                  <a:lnTo>
                    <a:pt x="401" y="487"/>
                  </a:lnTo>
                  <a:lnTo>
                    <a:pt x="401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0" name="Freeform 28">
              <a:extLst>
                <a:ext uri="{FF2B5EF4-FFF2-40B4-BE49-F238E27FC236}">
                  <a16:creationId xmlns:a16="http://schemas.microsoft.com/office/drawing/2014/main" id="{FF7B981F-EB39-BC49-95FB-422B3E16E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5299" y="4071889"/>
              <a:ext cx="72336" cy="138095"/>
            </a:xfrm>
            <a:custGeom>
              <a:avLst/>
              <a:gdLst>
                <a:gd name="T0" fmla="*/ 325 w 325"/>
                <a:gd name="T1" fmla="*/ 0 h 632"/>
                <a:gd name="T2" fmla="*/ 325 w 325"/>
                <a:gd name="T3" fmla="*/ 632 h 632"/>
                <a:gd name="T4" fmla="*/ 0 w 325"/>
                <a:gd name="T5" fmla="*/ 528 h 632"/>
                <a:gd name="T6" fmla="*/ 0 w 325"/>
                <a:gd name="T7" fmla="*/ 135 h 632"/>
                <a:gd name="T8" fmla="*/ 325 w 325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632">
                  <a:moveTo>
                    <a:pt x="325" y="0"/>
                  </a:moveTo>
                  <a:lnTo>
                    <a:pt x="325" y="632"/>
                  </a:lnTo>
                  <a:lnTo>
                    <a:pt x="0" y="528"/>
                  </a:lnTo>
                  <a:lnTo>
                    <a:pt x="0" y="135"/>
                  </a:lnTo>
                  <a:lnTo>
                    <a:pt x="325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1" name="Line 29">
              <a:extLst>
                <a:ext uri="{FF2B5EF4-FFF2-40B4-BE49-F238E27FC236}">
                  <a16:creationId xmlns:a16="http://schemas.microsoft.com/office/drawing/2014/main" id="{70548B06-D41E-B442-810F-D82CC8B1E1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73960" y="4081095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2" name="Line 30">
              <a:extLst>
                <a:ext uri="{FF2B5EF4-FFF2-40B4-BE49-F238E27FC236}">
                  <a16:creationId xmlns:a16="http://schemas.microsoft.com/office/drawing/2014/main" id="{AED55D1C-F6EF-8745-B144-51A0FCF9C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46341" y="4092932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3" name="Freeform 31">
              <a:extLst>
                <a:ext uri="{FF2B5EF4-FFF2-40B4-BE49-F238E27FC236}">
                  <a16:creationId xmlns:a16="http://schemas.microsoft.com/office/drawing/2014/main" id="{59900C1F-1C38-D645-927C-28ED94AE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5165" y="4071889"/>
              <a:ext cx="86803" cy="138095"/>
            </a:xfrm>
            <a:custGeom>
              <a:avLst/>
              <a:gdLst>
                <a:gd name="T0" fmla="*/ 0 w 400"/>
                <a:gd name="T1" fmla="*/ 0 h 632"/>
                <a:gd name="T2" fmla="*/ 0 w 400"/>
                <a:gd name="T3" fmla="*/ 632 h 632"/>
                <a:gd name="T4" fmla="*/ 400 w 400"/>
                <a:gd name="T5" fmla="*/ 487 h 632"/>
                <a:gd name="T6" fmla="*/ 400 w 400"/>
                <a:gd name="T7" fmla="*/ 159 h 632"/>
                <a:gd name="T8" fmla="*/ 0 w 40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2">
                  <a:moveTo>
                    <a:pt x="0" y="0"/>
                  </a:moveTo>
                  <a:lnTo>
                    <a:pt x="0" y="632"/>
                  </a:lnTo>
                  <a:lnTo>
                    <a:pt x="400" y="487"/>
                  </a:lnTo>
                  <a:lnTo>
                    <a:pt x="400" y="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4" name="Freeform 32">
              <a:extLst>
                <a:ext uri="{FF2B5EF4-FFF2-40B4-BE49-F238E27FC236}">
                  <a16:creationId xmlns:a16="http://schemas.microsoft.com/office/drawing/2014/main" id="{F00EBD6B-C884-F741-9111-E133701D9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5731" y="4071889"/>
              <a:ext cx="71021" cy="138095"/>
            </a:xfrm>
            <a:custGeom>
              <a:avLst/>
              <a:gdLst>
                <a:gd name="T0" fmla="*/ 324 w 324"/>
                <a:gd name="T1" fmla="*/ 0 h 632"/>
                <a:gd name="T2" fmla="*/ 324 w 324"/>
                <a:gd name="T3" fmla="*/ 632 h 632"/>
                <a:gd name="T4" fmla="*/ 0 w 324"/>
                <a:gd name="T5" fmla="*/ 528 h 632"/>
                <a:gd name="T6" fmla="*/ 0 w 324"/>
                <a:gd name="T7" fmla="*/ 135 h 632"/>
                <a:gd name="T8" fmla="*/ 324 w 324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632">
                  <a:moveTo>
                    <a:pt x="324" y="0"/>
                  </a:moveTo>
                  <a:lnTo>
                    <a:pt x="324" y="632"/>
                  </a:lnTo>
                  <a:lnTo>
                    <a:pt x="0" y="528"/>
                  </a:lnTo>
                  <a:lnTo>
                    <a:pt x="0" y="135"/>
                  </a:lnTo>
                  <a:lnTo>
                    <a:pt x="324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5" name="Line 33">
              <a:extLst>
                <a:ext uri="{FF2B5EF4-FFF2-40B4-BE49-F238E27FC236}">
                  <a16:creationId xmlns:a16="http://schemas.microsoft.com/office/drawing/2014/main" id="{56C94A11-1B95-1E4B-950B-F007F98D00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3079" y="4081095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6" name="Line 34">
              <a:extLst>
                <a:ext uri="{FF2B5EF4-FFF2-40B4-BE49-F238E27FC236}">
                  <a16:creationId xmlns:a16="http://schemas.microsoft.com/office/drawing/2014/main" id="{E2FE27EF-BBCC-2147-9E48-9B92BAE4AA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56775" y="4092932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7" name="Freeform 35">
              <a:extLst>
                <a:ext uri="{FF2B5EF4-FFF2-40B4-BE49-F238E27FC236}">
                  <a16:creationId xmlns:a16="http://schemas.microsoft.com/office/drawing/2014/main" id="{F8139E5A-0DCD-A04E-8783-B4871EB1C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4732" y="3781231"/>
              <a:ext cx="88119" cy="139411"/>
            </a:xfrm>
            <a:custGeom>
              <a:avLst/>
              <a:gdLst>
                <a:gd name="T0" fmla="*/ 0 w 401"/>
                <a:gd name="T1" fmla="*/ 0 h 633"/>
                <a:gd name="T2" fmla="*/ 0 w 401"/>
                <a:gd name="T3" fmla="*/ 633 h 633"/>
                <a:gd name="T4" fmla="*/ 401 w 401"/>
                <a:gd name="T5" fmla="*/ 489 h 633"/>
                <a:gd name="T6" fmla="*/ 401 w 401"/>
                <a:gd name="T7" fmla="*/ 161 h 633"/>
                <a:gd name="T8" fmla="*/ 0 w 401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633">
                  <a:moveTo>
                    <a:pt x="0" y="0"/>
                  </a:moveTo>
                  <a:lnTo>
                    <a:pt x="0" y="633"/>
                  </a:lnTo>
                  <a:lnTo>
                    <a:pt x="401" y="489"/>
                  </a:lnTo>
                  <a:lnTo>
                    <a:pt x="401" y="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8" name="Freeform 36">
              <a:extLst>
                <a:ext uri="{FF2B5EF4-FFF2-40B4-BE49-F238E27FC236}">
                  <a16:creationId xmlns:a16="http://schemas.microsoft.com/office/drawing/2014/main" id="{4DF53C3C-E554-3249-9B4A-1BAB2BB32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5299" y="3781231"/>
              <a:ext cx="72336" cy="139411"/>
            </a:xfrm>
            <a:custGeom>
              <a:avLst/>
              <a:gdLst>
                <a:gd name="T0" fmla="*/ 325 w 325"/>
                <a:gd name="T1" fmla="*/ 0 h 633"/>
                <a:gd name="T2" fmla="*/ 325 w 325"/>
                <a:gd name="T3" fmla="*/ 633 h 633"/>
                <a:gd name="T4" fmla="*/ 0 w 325"/>
                <a:gd name="T5" fmla="*/ 529 h 633"/>
                <a:gd name="T6" fmla="*/ 0 w 325"/>
                <a:gd name="T7" fmla="*/ 137 h 633"/>
                <a:gd name="T8" fmla="*/ 325 w 325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633">
                  <a:moveTo>
                    <a:pt x="325" y="0"/>
                  </a:moveTo>
                  <a:lnTo>
                    <a:pt x="325" y="633"/>
                  </a:lnTo>
                  <a:lnTo>
                    <a:pt x="0" y="529"/>
                  </a:lnTo>
                  <a:lnTo>
                    <a:pt x="0" y="137"/>
                  </a:lnTo>
                  <a:lnTo>
                    <a:pt x="325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39" name="Line 37">
              <a:extLst>
                <a:ext uri="{FF2B5EF4-FFF2-40B4-BE49-F238E27FC236}">
                  <a16:creationId xmlns:a16="http://schemas.microsoft.com/office/drawing/2014/main" id="{7AE20402-201D-5541-8067-BF2E85B85C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73960" y="3791752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0" name="Line 38">
              <a:extLst>
                <a:ext uri="{FF2B5EF4-FFF2-40B4-BE49-F238E27FC236}">
                  <a16:creationId xmlns:a16="http://schemas.microsoft.com/office/drawing/2014/main" id="{CEB5F934-24A8-0C41-A482-7439FA34F2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46341" y="3802273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1" name="Freeform 39">
              <a:extLst>
                <a:ext uri="{FF2B5EF4-FFF2-40B4-BE49-F238E27FC236}">
                  <a16:creationId xmlns:a16="http://schemas.microsoft.com/office/drawing/2014/main" id="{67126759-B6DA-514B-A702-EF0E85209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5165" y="3781231"/>
              <a:ext cx="86803" cy="139411"/>
            </a:xfrm>
            <a:custGeom>
              <a:avLst/>
              <a:gdLst>
                <a:gd name="T0" fmla="*/ 0 w 400"/>
                <a:gd name="T1" fmla="*/ 0 h 633"/>
                <a:gd name="T2" fmla="*/ 0 w 400"/>
                <a:gd name="T3" fmla="*/ 633 h 633"/>
                <a:gd name="T4" fmla="*/ 400 w 400"/>
                <a:gd name="T5" fmla="*/ 489 h 633"/>
                <a:gd name="T6" fmla="*/ 400 w 400"/>
                <a:gd name="T7" fmla="*/ 161 h 633"/>
                <a:gd name="T8" fmla="*/ 0 w 400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633">
                  <a:moveTo>
                    <a:pt x="0" y="0"/>
                  </a:moveTo>
                  <a:lnTo>
                    <a:pt x="0" y="633"/>
                  </a:lnTo>
                  <a:lnTo>
                    <a:pt x="400" y="489"/>
                  </a:lnTo>
                  <a:lnTo>
                    <a:pt x="400" y="1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2" name="Freeform 40">
              <a:extLst>
                <a:ext uri="{FF2B5EF4-FFF2-40B4-BE49-F238E27FC236}">
                  <a16:creationId xmlns:a16="http://schemas.microsoft.com/office/drawing/2014/main" id="{FAA5510B-C308-8F46-A489-9B4AA3E72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5731" y="3781231"/>
              <a:ext cx="71021" cy="139411"/>
            </a:xfrm>
            <a:custGeom>
              <a:avLst/>
              <a:gdLst>
                <a:gd name="T0" fmla="*/ 324 w 324"/>
                <a:gd name="T1" fmla="*/ 0 h 633"/>
                <a:gd name="T2" fmla="*/ 324 w 324"/>
                <a:gd name="T3" fmla="*/ 633 h 633"/>
                <a:gd name="T4" fmla="*/ 0 w 324"/>
                <a:gd name="T5" fmla="*/ 529 h 633"/>
                <a:gd name="T6" fmla="*/ 0 w 324"/>
                <a:gd name="T7" fmla="*/ 137 h 633"/>
                <a:gd name="T8" fmla="*/ 324 w 324"/>
                <a:gd name="T9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633">
                  <a:moveTo>
                    <a:pt x="324" y="0"/>
                  </a:moveTo>
                  <a:lnTo>
                    <a:pt x="324" y="633"/>
                  </a:lnTo>
                  <a:lnTo>
                    <a:pt x="0" y="529"/>
                  </a:lnTo>
                  <a:lnTo>
                    <a:pt x="0" y="137"/>
                  </a:lnTo>
                  <a:lnTo>
                    <a:pt x="324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3" name="Line 41">
              <a:extLst>
                <a:ext uri="{FF2B5EF4-FFF2-40B4-BE49-F238E27FC236}">
                  <a16:creationId xmlns:a16="http://schemas.microsoft.com/office/drawing/2014/main" id="{DEBF0CD2-B79D-2640-B109-FD52861BE4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3079" y="3791752"/>
              <a:ext cx="0" cy="120998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44" name="Line 42">
              <a:extLst>
                <a:ext uri="{FF2B5EF4-FFF2-40B4-BE49-F238E27FC236}">
                  <a16:creationId xmlns:a16="http://schemas.microsoft.com/office/drawing/2014/main" id="{C00F528B-A745-2F46-857E-A426284E8B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56775" y="3802273"/>
              <a:ext cx="0" cy="101271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2D002736-D9F3-A64B-8F7A-AE690A480C20}"/>
              </a:ext>
            </a:extLst>
          </p:cNvPr>
          <p:cNvCxnSpPr>
            <a:cxnSpLocks/>
          </p:cNvCxnSpPr>
          <p:nvPr/>
        </p:nvCxnSpPr>
        <p:spPr>
          <a:xfrm rot="5400000" flipH="1">
            <a:off x="6855885" y="1374058"/>
            <a:ext cx="113507" cy="7358925"/>
          </a:xfrm>
          <a:prstGeom prst="bentConnector3">
            <a:avLst>
              <a:gd name="adj1" fmla="val -671324"/>
            </a:avLst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TextBox 244">
            <a:extLst>
              <a:ext uri="{FF2B5EF4-FFF2-40B4-BE49-F238E27FC236}">
                <a16:creationId xmlns:a16="http://schemas.microsoft.com/office/drawing/2014/main" id="{CBF1545D-087A-F842-87F0-8B87C967F240}"/>
              </a:ext>
            </a:extLst>
          </p:cNvPr>
          <p:cNvSpPr txBox="1"/>
          <p:nvPr/>
        </p:nvSpPr>
        <p:spPr>
          <a:xfrm>
            <a:off x="5392434" y="6028018"/>
            <a:ext cx="3040408" cy="2862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Courier New" panose="02070309020205020404" pitchFamily="49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+mn-ea"/>
                <a:cs typeface="Courier New" panose="02070309020205020404" pitchFamily="49" charset="0"/>
              </a:rPr>
              <a:t>CI/CD and model retraining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DC857C1F-F128-5C43-8E16-4C87AA06D908}"/>
              </a:ext>
            </a:extLst>
          </p:cNvPr>
          <p:cNvSpPr/>
          <p:nvPr/>
        </p:nvSpPr>
        <p:spPr>
          <a:xfrm>
            <a:off x="6223969" y="5263370"/>
            <a:ext cx="1930272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Azure DevOps integration</a:t>
            </a:r>
          </a:p>
        </p:txBody>
      </p:sp>
      <p:pic>
        <p:nvPicPr>
          <p:cNvPr id="247" name="Picture 2" descr="Image result for azure devops logo">
            <a:extLst>
              <a:ext uri="{FF2B5EF4-FFF2-40B4-BE49-F238E27FC236}">
                <a16:creationId xmlns:a16="http://schemas.microsoft.com/office/drawing/2014/main" id="{0CFDEFAC-2637-7144-8E27-5EAB2AA7E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590" y="5090468"/>
            <a:ext cx="795830" cy="621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" name="Freeform: Shape 222">
            <a:extLst>
              <a:ext uri="{FF2B5EF4-FFF2-40B4-BE49-F238E27FC236}">
                <a16:creationId xmlns:a16="http://schemas.microsoft.com/office/drawing/2014/main" id="{13EA1491-5DF7-5B4C-8D3A-6347A7822929}"/>
              </a:ext>
            </a:extLst>
          </p:cNvPr>
          <p:cNvSpPr/>
          <p:nvPr/>
        </p:nvSpPr>
        <p:spPr bwMode="auto">
          <a:xfrm>
            <a:off x="655391" y="3296869"/>
            <a:ext cx="516911" cy="454861"/>
          </a:xfrm>
          <a:custGeom>
            <a:avLst/>
            <a:gdLst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26248 w 4761797"/>
              <a:gd name="connsiteY50" fmla="*/ 2394628 h 4409679"/>
              <a:gd name="connsiteX51" fmla="*/ 839562 w 4761797"/>
              <a:gd name="connsiteY51" fmla="*/ 2394628 h 4409679"/>
              <a:gd name="connsiteX52" fmla="*/ 838613 w 4761797"/>
              <a:gd name="connsiteY52" fmla="*/ 2376216 h 4409679"/>
              <a:gd name="connsiteX53" fmla="*/ 896327 w 4761797"/>
              <a:gd name="connsiteY53" fmla="*/ 1985696 h 4409679"/>
              <a:gd name="connsiteX54" fmla="*/ 1344072 w 4761797"/>
              <a:gd name="connsiteY54" fmla="*/ 1199974 h 4409679"/>
              <a:gd name="connsiteX55" fmla="*/ 2491383 w 4761797"/>
              <a:gd name="connsiteY55" fmla="*/ 779042 h 4409679"/>
              <a:gd name="connsiteX56" fmla="*/ 3075538 w 4761797"/>
              <a:gd name="connsiteY56" fmla="*/ 926370 h 4409679"/>
              <a:gd name="connsiteX57" fmla="*/ 3095617 w 4761797"/>
              <a:gd name="connsiteY57" fmla="*/ 937273 h 4409679"/>
              <a:gd name="connsiteX58" fmla="*/ 3095221 w 4761797"/>
              <a:gd name="connsiteY58" fmla="*/ 937420 h 4409679"/>
              <a:gd name="connsiteX59" fmla="*/ 3098039 w 4761797"/>
              <a:gd name="connsiteY59" fmla="*/ 938588 h 4409679"/>
              <a:gd name="connsiteX60" fmla="*/ 3148954 w 4761797"/>
              <a:gd name="connsiteY60" fmla="*/ 966233 h 4409679"/>
              <a:gd name="connsiteX61" fmla="*/ 3164715 w 4761797"/>
              <a:gd name="connsiteY61" fmla="*/ 966233 h 4409679"/>
              <a:gd name="connsiteX62" fmla="*/ 3098039 w 4761797"/>
              <a:gd name="connsiteY62" fmla="*/ 938588 h 4409679"/>
              <a:gd name="connsiteX63" fmla="*/ 3095617 w 4761797"/>
              <a:gd name="connsiteY63" fmla="*/ 937273 h 4409679"/>
              <a:gd name="connsiteX64" fmla="*/ 3229162 w 4761797"/>
              <a:gd name="connsiteY64" fmla="*/ 887670 h 4409679"/>
              <a:gd name="connsiteX65" fmla="*/ 3617024 w 4761797"/>
              <a:gd name="connsiteY65" fmla="*/ 787593 h 4409679"/>
              <a:gd name="connsiteX66" fmla="*/ 4165395 w 4761797"/>
              <a:gd name="connsiteY66" fmla="*/ 700025 h 4409679"/>
              <a:gd name="connsiteX67" fmla="*/ 637239 w 4761797"/>
              <a:gd name="connsiteY67" fmla="*/ 0 h 4409679"/>
              <a:gd name="connsiteX68" fmla="*/ 712216 w 4761797"/>
              <a:gd name="connsiteY68" fmla="*/ 74965 h 4409679"/>
              <a:gd name="connsiteX69" fmla="*/ 1237002 w 4761797"/>
              <a:gd name="connsiteY69" fmla="*/ 599752 h 4409679"/>
              <a:gd name="connsiteX70" fmla="*/ 1311967 w 4761797"/>
              <a:gd name="connsiteY70" fmla="*/ 674728 h 4409679"/>
              <a:gd name="connsiteX71" fmla="*/ 1237002 w 4761797"/>
              <a:gd name="connsiteY71" fmla="*/ 712216 h 4409679"/>
              <a:gd name="connsiteX72" fmla="*/ 712216 w 4761797"/>
              <a:gd name="connsiteY72" fmla="*/ 1274479 h 4409679"/>
              <a:gd name="connsiteX73" fmla="*/ 637239 w 4761797"/>
              <a:gd name="connsiteY73" fmla="*/ 1311967 h 4409679"/>
              <a:gd name="connsiteX74" fmla="*/ 599751 w 4761797"/>
              <a:gd name="connsiteY74" fmla="*/ 1274479 h 4409679"/>
              <a:gd name="connsiteX75" fmla="*/ 37488 w 4761797"/>
              <a:gd name="connsiteY75" fmla="*/ 712216 h 4409679"/>
              <a:gd name="connsiteX76" fmla="*/ 0 w 4761797"/>
              <a:gd name="connsiteY76" fmla="*/ 674728 h 4409679"/>
              <a:gd name="connsiteX77" fmla="*/ 37488 w 4761797"/>
              <a:gd name="connsiteY77" fmla="*/ 599752 h 4409679"/>
              <a:gd name="connsiteX78" fmla="*/ 599751 w 4761797"/>
              <a:gd name="connsiteY78" fmla="*/ 74965 h 4409679"/>
              <a:gd name="connsiteX79" fmla="*/ 637239 w 4761797"/>
              <a:gd name="connsiteY79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26248 w 4761797"/>
              <a:gd name="connsiteY50" fmla="*/ 2394628 h 4409679"/>
              <a:gd name="connsiteX51" fmla="*/ 838613 w 4761797"/>
              <a:gd name="connsiteY51" fmla="*/ 2376216 h 4409679"/>
              <a:gd name="connsiteX52" fmla="*/ 896327 w 4761797"/>
              <a:gd name="connsiteY52" fmla="*/ 1985696 h 4409679"/>
              <a:gd name="connsiteX53" fmla="*/ 1344072 w 4761797"/>
              <a:gd name="connsiteY53" fmla="*/ 1199974 h 4409679"/>
              <a:gd name="connsiteX54" fmla="*/ 2491383 w 4761797"/>
              <a:gd name="connsiteY54" fmla="*/ 779042 h 4409679"/>
              <a:gd name="connsiteX55" fmla="*/ 3075538 w 4761797"/>
              <a:gd name="connsiteY55" fmla="*/ 926370 h 4409679"/>
              <a:gd name="connsiteX56" fmla="*/ 3095617 w 4761797"/>
              <a:gd name="connsiteY56" fmla="*/ 937273 h 4409679"/>
              <a:gd name="connsiteX57" fmla="*/ 3095221 w 4761797"/>
              <a:gd name="connsiteY57" fmla="*/ 937420 h 4409679"/>
              <a:gd name="connsiteX58" fmla="*/ 3098039 w 4761797"/>
              <a:gd name="connsiteY58" fmla="*/ 938588 h 4409679"/>
              <a:gd name="connsiteX59" fmla="*/ 3148954 w 4761797"/>
              <a:gd name="connsiteY59" fmla="*/ 966233 h 4409679"/>
              <a:gd name="connsiteX60" fmla="*/ 3164715 w 4761797"/>
              <a:gd name="connsiteY60" fmla="*/ 966233 h 4409679"/>
              <a:gd name="connsiteX61" fmla="*/ 3098039 w 4761797"/>
              <a:gd name="connsiteY61" fmla="*/ 938588 h 4409679"/>
              <a:gd name="connsiteX62" fmla="*/ 3095617 w 4761797"/>
              <a:gd name="connsiteY62" fmla="*/ 937273 h 4409679"/>
              <a:gd name="connsiteX63" fmla="*/ 3229162 w 4761797"/>
              <a:gd name="connsiteY63" fmla="*/ 887670 h 4409679"/>
              <a:gd name="connsiteX64" fmla="*/ 3617024 w 4761797"/>
              <a:gd name="connsiteY64" fmla="*/ 787593 h 4409679"/>
              <a:gd name="connsiteX65" fmla="*/ 4165395 w 4761797"/>
              <a:gd name="connsiteY65" fmla="*/ 700025 h 4409679"/>
              <a:gd name="connsiteX66" fmla="*/ 637239 w 4761797"/>
              <a:gd name="connsiteY66" fmla="*/ 0 h 4409679"/>
              <a:gd name="connsiteX67" fmla="*/ 712216 w 4761797"/>
              <a:gd name="connsiteY67" fmla="*/ 74965 h 4409679"/>
              <a:gd name="connsiteX68" fmla="*/ 1237002 w 4761797"/>
              <a:gd name="connsiteY68" fmla="*/ 599752 h 4409679"/>
              <a:gd name="connsiteX69" fmla="*/ 1311967 w 4761797"/>
              <a:gd name="connsiteY69" fmla="*/ 674728 h 4409679"/>
              <a:gd name="connsiteX70" fmla="*/ 1237002 w 4761797"/>
              <a:gd name="connsiteY70" fmla="*/ 712216 h 4409679"/>
              <a:gd name="connsiteX71" fmla="*/ 712216 w 4761797"/>
              <a:gd name="connsiteY71" fmla="*/ 1274479 h 4409679"/>
              <a:gd name="connsiteX72" fmla="*/ 637239 w 4761797"/>
              <a:gd name="connsiteY72" fmla="*/ 1311967 h 4409679"/>
              <a:gd name="connsiteX73" fmla="*/ 599751 w 4761797"/>
              <a:gd name="connsiteY73" fmla="*/ 1274479 h 4409679"/>
              <a:gd name="connsiteX74" fmla="*/ 37488 w 4761797"/>
              <a:gd name="connsiteY74" fmla="*/ 712216 h 4409679"/>
              <a:gd name="connsiteX75" fmla="*/ 0 w 4761797"/>
              <a:gd name="connsiteY75" fmla="*/ 674728 h 4409679"/>
              <a:gd name="connsiteX76" fmla="*/ 37488 w 4761797"/>
              <a:gd name="connsiteY76" fmla="*/ 599752 h 4409679"/>
              <a:gd name="connsiteX77" fmla="*/ 599751 w 4761797"/>
              <a:gd name="connsiteY77" fmla="*/ 74965 h 4409679"/>
              <a:gd name="connsiteX78" fmla="*/ 637239 w 4761797"/>
              <a:gd name="connsiteY78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38613 w 4761797"/>
              <a:gd name="connsiteY50" fmla="*/ 2376216 h 4409679"/>
              <a:gd name="connsiteX51" fmla="*/ 896327 w 4761797"/>
              <a:gd name="connsiteY51" fmla="*/ 1985696 h 4409679"/>
              <a:gd name="connsiteX52" fmla="*/ 1344072 w 4761797"/>
              <a:gd name="connsiteY52" fmla="*/ 1199974 h 4409679"/>
              <a:gd name="connsiteX53" fmla="*/ 2491383 w 4761797"/>
              <a:gd name="connsiteY53" fmla="*/ 779042 h 4409679"/>
              <a:gd name="connsiteX54" fmla="*/ 3075538 w 4761797"/>
              <a:gd name="connsiteY54" fmla="*/ 926370 h 4409679"/>
              <a:gd name="connsiteX55" fmla="*/ 3095617 w 4761797"/>
              <a:gd name="connsiteY55" fmla="*/ 937273 h 4409679"/>
              <a:gd name="connsiteX56" fmla="*/ 3095221 w 4761797"/>
              <a:gd name="connsiteY56" fmla="*/ 937420 h 4409679"/>
              <a:gd name="connsiteX57" fmla="*/ 3098039 w 4761797"/>
              <a:gd name="connsiteY57" fmla="*/ 938588 h 4409679"/>
              <a:gd name="connsiteX58" fmla="*/ 3148954 w 4761797"/>
              <a:gd name="connsiteY58" fmla="*/ 966233 h 4409679"/>
              <a:gd name="connsiteX59" fmla="*/ 3164715 w 4761797"/>
              <a:gd name="connsiteY59" fmla="*/ 966233 h 4409679"/>
              <a:gd name="connsiteX60" fmla="*/ 3098039 w 4761797"/>
              <a:gd name="connsiteY60" fmla="*/ 938588 h 4409679"/>
              <a:gd name="connsiteX61" fmla="*/ 3095617 w 4761797"/>
              <a:gd name="connsiteY61" fmla="*/ 937273 h 4409679"/>
              <a:gd name="connsiteX62" fmla="*/ 3229162 w 4761797"/>
              <a:gd name="connsiteY62" fmla="*/ 887670 h 4409679"/>
              <a:gd name="connsiteX63" fmla="*/ 3617024 w 4761797"/>
              <a:gd name="connsiteY63" fmla="*/ 787593 h 4409679"/>
              <a:gd name="connsiteX64" fmla="*/ 4165395 w 4761797"/>
              <a:gd name="connsiteY64" fmla="*/ 700025 h 4409679"/>
              <a:gd name="connsiteX65" fmla="*/ 637239 w 4761797"/>
              <a:gd name="connsiteY65" fmla="*/ 0 h 4409679"/>
              <a:gd name="connsiteX66" fmla="*/ 712216 w 4761797"/>
              <a:gd name="connsiteY66" fmla="*/ 74965 h 4409679"/>
              <a:gd name="connsiteX67" fmla="*/ 1237002 w 4761797"/>
              <a:gd name="connsiteY67" fmla="*/ 599752 h 4409679"/>
              <a:gd name="connsiteX68" fmla="*/ 1311967 w 4761797"/>
              <a:gd name="connsiteY68" fmla="*/ 674728 h 4409679"/>
              <a:gd name="connsiteX69" fmla="*/ 1237002 w 4761797"/>
              <a:gd name="connsiteY69" fmla="*/ 712216 h 4409679"/>
              <a:gd name="connsiteX70" fmla="*/ 712216 w 4761797"/>
              <a:gd name="connsiteY70" fmla="*/ 1274479 h 4409679"/>
              <a:gd name="connsiteX71" fmla="*/ 637239 w 4761797"/>
              <a:gd name="connsiteY71" fmla="*/ 1311967 h 4409679"/>
              <a:gd name="connsiteX72" fmla="*/ 599751 w 4761797"/>
              <a:gd name="connsiteY72" fmla="*/ 1274479 h 4409679"/>
              <a:gd name="connsiteX73" fmla="*/ 37488 w 4761797"/>
              <a:gd name="connsiteY73" fmla="*/ 712216 h 4409679"/>
              <a:gd name="connsiteX74" fmla="*/ 0 w 4761797"/>
              <a:gd name="connsiteY74" fmla="*/ 674728 h 4409679"/>
              <a:gd name="connsiteX75" fmla="*/ 37488 w 4761797"/>
              <a:gd name="connsiteY75" fmla="*/ 599752 h 4409679"/>
              <a:gd name="connsiteX76" fmla="*/ 599751 w 4761797"/>
              <a:gd name="connsiteY76" fmla="*/ 74965 h 4409679"/>
              <a:gd name="connsiteX77" fmla="*/ 637239 w 4761797"/>
              <a:gd name="connsiteY77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3261 w 4761797"/>
              <a:gd name="connsiteY27" fmla="*/ 2610450 h 4409679"/>
              <a:gd name="connsiteX28" fmla="*/ 858908 w 4761797"/>
              <a:gd name="connsiteY28" fmla="*/ 2697843 h 4409679"/>
              <a:gd name="connsiteX29" fmla="*/ 374375 w 4761797"/>
              <a:gd name="connsiteY29" fmla="*/ 3596787 h 4409679"/>
              <a:gd name="connsiteX30" fmla="*/ 1417980 w 4761797"/>
              <a:gd name="connsiteY30" fmla="*/ 3559334 h 4409679"/>
              <a:gd name="connsiteX31" fmla="*/ 2759768 w 4761797"/>
              <a:gd name="connsiteY31" fmla="*/ 2922576 h 4409679"/>
              <a:gd name="connsiteX32" fmla="*/ 3952465 w 4761797"/>
              <a:gd name="connsiteY32" fmla="*/ 2023632 h 4409679"/>
              <a:gd name="connsiteX33" fmla="*/ 4138826 w 4761797"/>
              <a:gd name="connsiteY33" fmla="*/ 1798899 h 4409679"/>
              <a:gd name="connsiteX34" fmla="*/ 4474268 w 4761797"/>
              <a:gd name="connsiteY34" fmla="*/ 1087234 h 4409679"/>
              <a:gd name="connsiteX35" fmla="*/ 4138826 w 4761797"/>
              <a:gd name="connsiteY35" fmla="*/ 974873 h 4409679"/>
              <a:gd name="connsiteX36" fmla="*/ 4165395 w 4761797"/>
              <a:gd name="connsiteY36" fmla="*/ 700025 h 4409679"/>
              <a:gd name="connsiteX37" fmla="*/ 4311207 w 4761797"/>
              <a:gd name="connsiteY37" fmla="*/ 708003 h 4409679"/>
              <a:gd name="connsiteX38" fmla="*/ 4697899 w 4761797"/>
              <a:gd name="connsiteY38" fmla="*/ 937420 h 4409679"/>
              <a:gd name="connsiteX39" fmla="*/ 4362458 w 4761797"/>
              <a:gd name="connsiteY39" fmla="*/ 1986178 h 4409679"/>
              <a:gd name="connsiteX40" fmla="*/ 3989735 w 4761797"/>
              <a:gd name="connsiteY40" fmla="*/ 2360738 h 4409679"/>
              <a:gd name="connsiteX41" fmla="*/ 3989253 w 4761797"/>
              <a:gd name="connsiteY41" fmla="*/ 2361116 h 4409679"/>
              <a:gd name="connsiteX42" fmla="*/ 3943902 w 4761797"/>
              <a:gd name="connsiteY42" fmla="*/ 2721741 h 4409679"/>
              <a:gd name="connsiteX43" fmla="*/ 3841218 w 4761797"/>
              <a:gd name="connsiteY43" fmla="*/ 3064677 h 4409679"/>
              <a:gd name="connsiteX44" fmla="*/ 2318452 w 4761797"/>
              <a:gd name="connsiteY44" fmla="*/ 3936717 h 4409679"/>
              <a:gd name="connsiteX45" fmla="*/ 1721994 w 4761797"/>
              <a:gd name="connsiteY45" fmla="*/ 3781140 h 4409679"/>
              <a:gd name="connsiteX46" fmla="*/ 1716163 w 4761797"/>
              <a:gd name="connsiteY46" fmla="*/ 3784067 h 4409679"/>
              <a:gd name="connsiteX47" fmla="*/ 709817 w 4761797"/>
              <a:gd name="connsiteY47" fmla="*/ 4008800 h 4409679"/>
              <a:gd name="connsiteX48" fmla="*/ 113474 w 4761797"/>
              <a:gd name="connsiteY48" fmla="*/ 3746613 h 4409679"/>
              <a:gd name="connsiteX49" fmla="*/ 821638 w 4761797"/>
              <a:gd name="connsiteY49" fmla="*/ 2323284 h 4409679"/>
              <a:gd name="connsiteX50" fmla="*/ 896327 w 4761797"/>
              <a:gd name="connsiteY50" fmla="*/ 1985696 h 4409679"/>
              <a:gd name="connsiteX51" fmla="*/ 1344072 w 4761797"/>
              <a:gd name="connsiteY51" fmla="*/ 1199974 h 4409679"/>
              <a:gd name="connsiteX52" fmla="*/ 2491383 w 4761797"/>
              <a:gd name="connsiteY52" fmla="*/ 779042 h 4409679"/>
              <a:gd name="connsiteX53" fmla="*/ 3075538 w 4761797"/>
              <a:gd name="connsiteY53" fmla="*/ 926370 h 4409679"/>
              <a:gd name="connsiteX54" fmla="*/ 3095617 w 4761797"/>
              <a:gd name="connsiteY54" fmla="*/ 937273 h 4409679"/>
              <a:gd name="connsiteX55" fmla="*/ 3095221 w 4761797"/>
              <a:gd name="connsiteY55" fmla="*/ 937420 h 4409679"/>
              <a:gd name="connsiteX56" fmla="*/ 3098039 w 4761797"/>
              <a:gd name="connsiteY56" fmla="*/ 938588 h 4409679"/>
              <a:gd name="connsiteX57" fmla="*/ 3148954 w 4761797"/>
              <a:gd name="connsiteY57" fmla="*/ 966233 h 4409679"/>
              <a:gd name="connsiteX58" fmla="*/ 3164715 w 4761797"/>
              <a:gd name="connsiteY58" fmla="*/ 966233 h 4409679"/>
              <a:gd name="connsiteX59" fmla="*/ 3098039 w 4761797"/>
              <a:gd name="connsiteY59" fmla="*/ 938588 h 4409679"/>
              <a:gd name="connsiteX60" fmla="*/ 3095617 w 4761797"/>
              <a:gd name="connsiteY60" fmla="*/ 937273 h 4409679"/>
              <a:gd name="connsiteX61" fmla="*/ 3229162 w 4761797"/>
              <a:gd name="connsiteY61" fmla="*/ 887670 h 4409679"/>
              <a:gd name="connsiteX62" fmla="*/ 3617024 w 4761797"/>
              <a:gd name="connsiteY62" fmla="*/ 787593 h 4409679"/>
              <a:gd name="connsiteX63" fmla="*/ 4165395 w 4761797"/>
              <a:gd name="connsiteY63" fmla="*/ 700025 h 4409679"/>
              <a:gd name="connsiteX64" fmla="*/ 637239 w 4761797"/>
              <a:gd name="connsiteY64" fmla="*/ 0 h 4409679"/>
              <a:gd name="connsiteX65" fmla="*/ 712216 w 4761797"/>
              <a:gd name="connsiteY65" fmla="*/ 74965 h 4409679"/>
              <a:gd name="connsiteX66" fmla="*/ 1237002 w 4761797"/>
              <a:gd name="connsiteY66" fmla="*/ 599752 h 4409679"/>
              <a:gd name="connsiteX67" fmla="*/ 1311967 w 4761797"/>
              <a:gd name="connsiteY67" fmla="*/ 674728 h 4409679"/>
              <a:gd name="connsiteX68" fmla="*/ 1237002 w 4761797"/>
              <a:gd name="connsiteY68" fmla="*/ 712216 h 4409679"/>
              <a:gd name="connsiteX69" fmla="*/ 712216 w 4761797"/>
              <a:gd name="connsiteY69" fmla="*/ 1274479 h 4409679"/>
              <a:gd name="connsiteX70" fmla="*/ 637239 w 4761797"/>
              <a:gd name="connsiteY70" fmla="*/ 1311967 h 4409679"/>
              <a:gd name="connsiteX71" fmla="*/ 599751 w 4761797"/>
              <a:gd name="connsiteY71" fmla="*/ 1274479 h 4409679"/>
              <a:gd name="connsiteX72" fmla="*/ 37488 w 4761797"/>
              <a:gd name="connsiteY72" fmla="*/ 712216 h 4409679"/>
              <a:gd name="connsiteX73" fmla="*/ 0 w 4761797"/>
              <a:gd name="connsiteY73" fmla="*/ 674728 h 4409679"/>
              <a:gd name="connsiteX74" fmla="*/ 37488 w 4761797"/>
              <a:gd name="connsiteY74" fmla="*/ 599752 h 4409679"/>
              <a:gd name="connsiteX75" fmla="*/ 599751 w 4761797"/>
              <a:gd name="connsiteY75" fmla="*/ 74965 h 4409679"/>
              <a:gd name="connsiteX76" fmla="*/ 637239 w 4761797"/>
              <a:gd name="connsiteY7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148954 w 4761797"/>
              <a:gd name="connsiteY56" fmla="*/ 966233 h 4409679"/>
              <a:gd name="connsiteX57" fmla="*/ 3164715 w 4761797"/>
              <a:gd name="connsiteY57" fmla="*/ 966233 h 4409679"/>
              <a:gd name="connsiteX58" fmla="*/ 3098039 w 4761797"/>
              <a:gd name="connsiteY58" fmla="*/ 938588 h 4409679"/>
              <a:gd name="connsiteX59" fmla="*/ 3095617 w 4761797"/>
              <a:gd name="connsiteY59" fmla="*/ 937273 h 4409679"/>
              <a:gd name="connsiteX60" fmla="*/ 3229162 w 4761797"/>
              <a:gd name="connsiteY60" fmla="*/ 887670 h 4409679"/>
              <a:gd name="connsiteX61" fmla="*/ 3617024 w 4761797"/>
              <a:gd name="connsiteY61" fmla="*/ 787593 h 4409679"/>
              <a:gd name="connsiteX62" fmla="*/ 4165395 w 4761797"/>
              <a:gd name="connsiteY62" fmla="*/ 700025 h 4409679"/>
              <a:gd name="connsiteX63" fmla="*/ 637239 w 4761797"/>
              <a:gd name="connsiteY63" fmla="*/ 0 h 4409679"/>
              <a:gd name="connsiteX64" fmla="*/ 712216 w 4761797"/>
              <a:gd name="connsiteY64" fmla="*/ 74965 h 4409679"/>
              <a:gd name="connsiteX65" fmla="*/ 1237002 w 4761797"/>
              <a:gd name="connsiteY65" fmla="*/ 599752 h 4409679"/>
              <a:gd name="connsiteX66" fmla="*/ 1311967 w 4761797"/>
              <a:gd name="connsiteY66" fmla="*/ 674728 h 4409679"/>
              <a:gd name="connsiteX67" fmla="*/ 1237002 w 4761797"/>
              <a:gd name="connsiteY67" fmla="*/ 712216 h 4409679"/>
              <a:gd name="connsiteX68" fmla="*/ 712216 w 4761797"/>
              <a:gd name="connsiteY68" fmla="*/ 1274479 h 4409679"/>
              <a:gd name="connsiteX69" fmla="*/ 637239 w 4761797"/>
              <a:gd name="connsiteY69" fmla="*/ 1311967 h 4409679"/>
              <a:gd name="connsiteX70" fmla="*/ 599751 w 4761797"/>
              <a:gd name="connsiteY70" fmla="*/ 1274479 h 4409679"/>
              <a:gd name="connsiteX71" fmla="*/ 37488 w 4761797"/>
              <a:gd name="connsiteY71" fmla="*/ 712216 h 4409679"/>
              <a:gd name="connsiteX72" fmla="*/ 0 w 4761797"/>
              <a:gd name="connsiteY72" fmla="*/ 674728 h 4409679"/>
              <a:gd name="connsiteX73" fmla="*/ 37488 w 4761797"/>
              <a:gd name="connsiteY73" fmla="*/ 599752 h 4409679"/>
              <a:gd name="connsiteX74" fmla="*/ 599751 w 4761797"/>
              <a:gd name="connsiteY74" fmla="*/ 74965 h 4409679"/>
              <a:gd name="connsiteX75" fmla="*/ 637239 w 4761797"/>
              <a:gd name="connsiteY75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148954 w 4761797"/>
              <a:gd name="connsiteY56" fmla="*/ 966233 h 4409679"/>
              <a:gd name="connsiteX57" fmla="*/ 3098039 w 4761797"/>
              <a:gd name="connsiteY57" fmla="*/ 938588 h 4409679"/>
              <a:gd name="connsiteX58" fmla="*/ 3095617 w 4761797"/>
              <a:gd name="connsiteY58" fmla="*/ 937273 h 4409679"/>
              <a:gd name="connsiteX59" fmla="*/ 3229162 w 4761797"/>
              <a:gd name="connsiteY59" fmla="*/ 887670 h 4409679"/>
              <a:gd name="connsiteX60" fmla="*/ 3617024 w 4761797"/>
              <a:gd name="connsiteY60" fmla="*/ 787593 h 4409679"/>
              <a:gd name="connsiteX61" fmla="*/ 4165395 w 4761797"/>
              <a:gd name="connsiteY61" fmla="*/ 700025 h 4409679"/>
              <a:gd name="connsiteX62" fmla="*/ 637239 w 4761797"/>
              <a:gd name="connsiteY62" fmla="*/ 0 h 4409679"/>
              <a:gd name="connsiteX63" fmla="*/ 712216 w 4761797"/>
              <a:gd name="connsiteY63" fmla="*/ 74965 h 4409679"/>
              <a:gd name="connsiteX64" fmla="*/ 1237002 w 4761797"/>
              <a:gd name="connsiteY64" fmla="*/ 599752 h 4409679"/>
              <a:gd name="connsiteX65" fmla="*/ 1311967 w 4761797"/>
              <a:gd name="connsiteY65" fmla="*/ 674728 h 4409679"/>
              <a:gd name="connsiteX66" fmla="*/ 1237002 w 4761797"/>
              <a:gd name="connsiteY66" fmla="*/ 712216 h 4409679"/>
              <a:gd name="connsiteX67" fmla="*/ 712216 w 4761797"/>
              <a:gd name="connsiteY67" fmla="*/ 1274479 h 4409679"/>
              <a:gd name="connsiteX68" fmla="*/ 637239 w 4761797"/>
              <a:gd name="connsiteY68" fmla="*/ 1311967 h 4409679"/>
              <a:gd name="connsiteX69" fmla="*/ 599751 w 4761797"/>
              <a:gd name="connsiteY69" fmla="*/ 1274479 h 4409679"/>
              <a:gd name="connsiteX70" fmla="*/ 37488 w 4761797"/>
              <a:gd name="connsiteY70" fmla="*/ 712216 h 4409679"/>
              <a:gd name="connsiteX71" fmla="*/ 0 w 4761797"/>
              <a:gd name="connsiteY71" fmla="*/ 674728 h 4409679"/>
              <a:gd name="connsiteX72" fmla="*/ 37488 w 4761797"/>
              <a:gd name="connsiteY72" fmla="*/ 599752 h 4409679"/>
              <a:gd name="connsiteX73" fmla="*/ 599751 w 4761797"/>
              <a:gd name="connsiteY73" fmla="*/ 74965 h 4409679"/>
              <a:gd name="connsiteX74" fmla="*/ 637239 w 4761797"/>
              <a:gd name="connsiteY74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098039 w 4761797"/>
              <a:gd name="connsiteY56" fmla="*/ 938588 h 4409679"/>
              <a:gd name="connsiteX57" fmla="*/ 3095617 w 4761797"/>
              <a:gd name="connsiteY57" fmla="*/ 937273 h 4409679"/>
              <a:gd name="connsiteX58" fmla="*/ 3229162 w 4761797"/>
              <a:gd name="connsiteY58" fmla="*/ 887670 h 4409679"/>
              <a:gd name="connsiteX59" fmla="*/ 3617024 w 4761797"/>
              <a:gd name="connsiteY59" fmla="*/ 787593 h 4409679"/>
              <a:gd name="connsiteX60" fmla="*/ 4165395 w 4761797"/>
              <a:gd name="connsiteY60" fmla="*/ 700025 h 4409679"/>
              <a:gd name="connsiteX61" fmla="*/ 637239 w 4761797"/>
              <a:gd name="connsiteY61" fmla="*/ 0 h 4409679"/>
              <a:gd name="connsiteX62" fmla="*/ 712216 w 4761797"/>
              <a:gd name="connsiteY62" fmla="*/ 74965 h 4409679"/>
              <a:gd name="connsiteX63" fmla="*/ 1237002 w 4761797"/>
              <a:gd name="connsiteY63" fmla="*/ 599752 h 4409679"/>
              <a:gd name="connsiteX64" fmla="*/ 1311967 w 4761797"/>
              <a:gd name="connsiteY64" fmla="*/ 674728 h 4409679"/>
              <a:gd name="connsiteX65" fmla="*/ 1237002 w 4761797"/>
              <a:gd name="connsiteY65" fmla="*/ 712216 h 4409679"/>
              <a:gd name="connsiteX66" fmla="*/ 712216 w 4761797"/>
              <a:gd name="connsiteY66" fmla="*/ 1274479 h 4409679"/>
              <a:gd name="connsiteX67" fmla="*/ 637239 w 4761797"/>
              <a:gd name="connsiteY67" fmla="*/ 1311967 h 4409679"/>
              <a:gd name="connsiteX68" fmla="*/ 599751 w 4761797"/>
              <a:gd name="connsiteY68" fmla="*/ 1274479 h 4409679"/>
              <a:gd name="connsiteX69" fmla="*/ 37488 w 4761797"/>
              <a:gd name="connsiteY69" fmla="*/ 712216 h 4409679"/>
              <a:gd name="connsiteX70" fmla="*/ 0 w 4761797"/>
              <a:gd name="connsiteY70" fmla="*/ 674728 h 4409679"/>
              <a:gd name="connsiteX71" fmla="*/ 37488 w 4761797"/>
              <a:gd name="connsiteY71" fmla="*/ 599752 h 4409679"/>
              <a:gd name="connsiteX72" fmla="*/ 599751 w 4761797"/>
              <a:gd name="connsiteY72" fmla="*/ 74965 h 4409679"/>
              <a:gd name="connsiteX73" fmla="*/ 637239 w 4761797"/>
              <a:gd name="connsiteY73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098039 w 4761797"/>
              <a:gd name="connsiteY56" fmla="*/ 938588 h 4409679"/>
              <a:gd name="connsiteX57" fmla="*/ 3229162 w 4761797"/>
              <a:gd name="connsiteY57" fmla="*/ 887670 h 4409679"/>
              <a:gd name="connsiteX58" fmla="*/ 3617024 w 4761797"/>
              <a:gd name="connsiteY58" fmla="*/ 787593 h 4409679"/>
              <a:gd name="connsiteX59" fmla="*/ 4165395 w 4761797"/>
              <a:gd name="connsiteY59" fmla="*/ 700025 h 4409679"/>
              <a:gd name="connsiteX60" fmla="*/ 637239 w 4761797"/>
              <a:gd name="connsiteY60" fmla="*/ 0 h 4409679"/>
              <a:gd name="connsiteX61" fmla="*/ 712216 w 4761797"/>
              <a:gd name="connsiteY61" fmla="*/ 74965 h 4409679"/>
              <a:gd name="connsiteX62" fmla="*/ 1237002 w 4761797"/>
              <a:gd name="connsiteY62" fmla="*/ 599752 h 4409679"/>
              <a:gd name="connsiteX63" fmla="*/ 1311967 w 4761797"/>
              <a:gd name="connsiteY63" fmla="*/ 674728 h 4409679"/>
              <a:gd name="connsiteX64" fmla="*/ 1237002 w 4761797"/>
              <a:gd name="connsiteY64" fmla="*/ 712216 h 4409679"/>
              <a:gd name="connsiteX65" fmla="*/ 712216 w 4761797"/>
              <a:gd name="connsiteY65" fmla="*/ 1274479 h 4409679"/>
              <a:gd name="connsiteX66" fmla="*/ 637239 w 4761797"/>
              <a:gd name="connsiteY66" fmla="*/ 1311967 h 4409679"/>
              <a:gd name="connsiteX67" fmla="*/ 599751 w 4761797"/>
              <a:gd name="connsiteY67" fmla="*/ 1274479 h 4409679"/>
              <a:gd name="connsiteX68" fmla="*/ 37488 w 4761797"/>
              <a:gd name="connsiteY68" fmla="*/ 712216 h 4409679"/>
              <a:gd name="connsiteX69" fmla="*/ 0 w 4761797"/>
              <a:gd name="connsiteY69" fmla="*/ 674728 h 4409679"/>
              <a:gd name="connsiteX70" fmla="*/ 37488 w 4761797"/>
              <a:gd name="connsiteY70" fmla="*/ 599752 h 4409679"/>
              <a:gd name="connsiteX71" fmla="*/ 599751 w 4761797"/>
              <a:gd name="connsiteY71" fmla="*/ 74965 h 4409679"/>
              <a:gd name="connsiteX72" fmla="*/ 637239 w 4761797"/>
              <a:gd name="connsiteY72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367946 w 4761797"/>
              <a:gd name="connsiteY17" fmla="*/ 1110661 h 4409679"/>
              <a:gd name="connsiteX18" fmla="*/ 3466595 w 4761797"/>
              <a:gd name="connsiteY18" fmla="*/ 1193397 h 4409679"/>
              <a:gd name="connsiteX19" fmla="*/ 3582738 w 4761797"/>
              <a:gd name="connsiteY19" fmla="*/ 1312220 h 4409679"/>
              <a:gd name="connsiteX20" fmla="*/ 3881231 w 4761797"/>
              <a:gd name="connsiteY20" fmla="*/ 1761204 h 4409679"/>
              <a:gd name="connsiteX21" fmla="*/ 3806611 w 4761797"/>
              <a:gd name="connsiteY21" fmla="*/ 1873450 h 4409679"/>
              <a:gd name="connsiteX22" fmla="*/ 2649956 w 4761797"/>
              <a:gd name="connsiteY22" fmla="*/ 2734000 h 4409679"/>
              <a:gd name="connsiteX23" fmla="*/ 1344072 w 4761797"/>
              <a:gd name="connsiteY23" fmla="*/ 3370057 h 4409679"/>
              <a:gd name="connsiteX24" fmla="*/ 1232136 w 4761797"/>
              <a:gd name="connsiteY24" fmla="*/ 3407476 h 4409679"/>
              <a:gd name="connsiteX25" fmla="*/ 882338 w 4761797"/>
              <a:gd name="connsiteY25" fmla="*/ 2752706 h 4409679"/>
              <a:gd name="connsiteX26" fmla="*/ 856367 w 4761797"/>
              <a:gd name="connsiteY26" fmla="*/ 2610450 h 4409679"/>
              <a:gd name="connsiteX27" fmla="*/ 858908 w 4761797"/>
              <a:gd name="connsiteY27" fmla="*/ 2697843 h 4409679"/>
              <a:gd name="connsiteX28" fmla="*/ 374375 w 4761797"/>
              <a:gd name="connsiteY28" fmla="*/ 3596787 h 4409679"/>
              <a:gd name="connsiteX29" fmla="*/ 1417980 w 4761797"/>
              <a:gd name="connsiteY29" fmla="*/ 3559334 h 4409679"/>
              <a:gd name="connsiteX30" fmla="*/ 2759768 w 4761797"/>
              <a:gd name="connsiteY30" fmla="*/ 2922576 h 4409679"/>
              <a:gd name="connsiteX31" fmla="*/ 3952465 w 4761797"/>
              <a:gd name="connsiteY31" fmla="*/ 2023632 h 4409679"/>
              <a:gd name="connsiteX32" fmla="*/ 4138826 w 4761797"/>
              <a:gd name="connsiteY32" fmla="*/ 1798899 h 4409679"/>
              <a:gd name="connsiteX33" fmla="*/ 4474268 w 4761797"/>
              <a:gd name="connsiteY33" fmla="*/ 1087234 h 4409679"/>
              <a:gd name="connsiteX34" fmla="*/ 4138826 w 4761797"/>
              <a:gd name="connsiteY34" fmla="*/ 974873 h 4409679"/>
              <a:gd name="connsiteX35" fmla="*/ 4165395 w 4761797"/>
              <a:gd name="connsiteY35" fmla="*/ 700025 h 4409679"/>
              <a:gd name="connsiteX36" fmla="*/ 4311207 w 4761797"/>
              <a:gd name="connsiteY36" fmla="*/ 708003 h 4409679"/>
              <a:gd name="connsiteX37" fmla="*/ 4697899 w 4761797"/>
              <a:gd name="connsiteY37" fmla="*/ 937420 h 4409679"/>
              <a:gd name="connsiteX38" fmla="*/ 4362458 w 4761797"/>
              <a:gd name="connsiteY38" fmla="*/ 1986178 h 4409679"/>
              <a:gd name="connsiteX39" fmla="*/ 3989735 w 4761797"/>
              <a:gd name="connsiteY39" fmla="*/ 2360738 h 4409679"/>
              <a:gd name="connsiteX40" fmla="*/ 3989253 w 4761797"/>
              <a:gd name="connsiteY40" fmla="*/ 2361116 h 4409679"/>
              <a:gd name="connsiteX41" fmla="*/ 3943902 w 4761797"/>
              <a:gd name="connsiteY41" fmla="*/ 2721741 h 4409679"/>
              <a:gd name="connsiteX42" fmla="*/ 3841218 w 4761797"/>
              <a:gd name="connsiteY42" fmla="*/ 3064677 h 4409679"/>
              <a:gd name="connsiteX43" fmla="*/ 2318452 w 4761797"/>
              <a:gd name="connsiteY43" fmla="*/ 3936717 h 4409679"/>
              <a:gd name="connsiteX44" fmla="*/ 1721994 w 4761797"/>
              <a:gd name="connsiteY44" fmla="*/ 3781140 h 4409679"/>
              <a:gd name="connsiteX45" fmla="*/ 1716163 w 4761797"/>
              <a:gd name="connsiteY45" fmla="*/ 3784067 h 4409679"/>
              <a:gd name="connsiteX46" fmla="*/ 709817 w 4761797"/>
              <a:gd name="connsiteY46" fmla="*/ 4008800 h 4409679"/>
              <a:gd name="connsiteX47" fmla="*/ 113474 w 4761797"/>
              <a:gd name="connsiteY47" fmla="*/ 3746613 h 4409679"/>
              <a:gd name="connsiteX48" fmla="*/ 821638 w 4761797"/>
              <a:gd name="connsiteY48" fmla="*/ 2323284 h 4409679"/>
              <a:gd name="connsiteX49" fmla="*/ 896327 w 4761797"/>
              <a:gd name="connsiteY49" fmla="*/ 1985696 h 4409679"/>
              <a:gd name="connsiteX50" fmla="*/ 1344072 w 4761797"/>
              <a:gd name="connsiteY50" fmla="*/ 1199974 h 4409679"/>
              <a:gd name="connsiteX51" fmla="*/ 2491383 w 4761797"/>
              <a:gd name="connsiteY51" fmla="*/ 779042 h 4409679"/>
              <a:gd name="connsiteX52" fmla="*/ 3075538 w 4761797"/>
              <a:gd name="connsiteY52" fmla="*/ 926370 h 4409679"/>
              <a:gd name="connsiteX53" fmla="*/ 3095617 w 4761797"/>
              <a:gd name="connsiteY53" fmla="*/ 937273 h 4409679"/>
              <a:gd name="connsiteX54" fmla="*/ 3095221 w 4761797"/>
              <a:gd name="connsiteY54" fmla="*/ 937420 h 4409679"/>
              <a:gd name="connsiteX55" fmla="*/ 3098039 w 4761797"/>
              <a:gd name="connsiteY55" fmla="*/ 938588 h 4409679"/>
              <a:gd name="connsiteX56" fmla="*/ 3229162 w 4761797"/>
              <a:gd name="connsiteY56" fmla="*/ 887670 h 4409679"/>
              <a:gd name="connsiteX57" fmla="*/ 3617024 w 4761797"/>
              <a:gd name="connsiteY57" fmla="*/ 787593 h 4409679"/>
              <a:gd name="connsiteX58" fmla="*/ 4165395 w 4761797"/>
              <a:gd name="connsiteY58" fmla="*/ 700025 h 4409679"/>
              <a:gd name="connsiteX59" fmla="*/ 637239 w 4761797"/>
              <a:gd name="connsiteY59" fmla="*/ 0 h 4409679"/>
              <a:gd name="connsiteX60" fmla="*/ 712216 w 4761797"/>
              <a:gd name="connsiteY60" fmla="*/ 74965 h 4409679"/>
              <a:gd name="connsiteX61" fmla="*/ 1237002 w 4761797"/>
              <a:gd name="connsiteY61" fmla="*/ 599752 h 4409679"/>
              <a:gd name="connsiteX62" fmla="*/ 1311967 w 4761797"/>
              <a:gd name="connsiteY62" fmla="*/ 674728 h 4409679"/>
              <a:gd name="connsiteX63" fmla="*/ 1237002 w 4761797"/>
              <a:gd name="connsiteY63" fmla="*/ 712216 h 4409679"/>
              <a:gd name="connsiteX64" fmla="*/ 712216 w 4761797"/>
              <a:gd name="connsiteY64" fmla="*/ 1274479 h 4409679"/>
              <a:gd name="connsiteX65" fmla="*/ 637239 w 4761797"/>
              <a:gd name="connsiteY65" fmla="*/ 1311967 h 4409679"/>
              <a:gd name="connsiteX66" fmla="*/ 599751 w 4761797"/>
              <a:gd name="connsiteY66" fmla="*/ 1274479 h 4409679"/>
              <a:gd name="connsiteX67" fmla="*/ 37488 w 4761797"/>
              <a:gd name="connsiteY67" fmla="*/ 712216 h 4409679"/>
              <a:gd name="connsiteX68" fmla="*/ 0 w 4761797"/>
              <a:gd name="connsiteY68" fmla="*/ 674728 h 4409679"/>
              <a:gd name="connsiteX69" fmla="*/ 37488 w 4761797"/>
              <a:gd name="connsiteY69" fmla="*/ 599752 h 4409679"/>
              <a:gd name="connsiteX70" fmla="*/ 599751 w 4761797"/>
              <a:gd name="connsiteY70" fmla="*/ 74965 h 4409679"/>
              <a:gd name="connsiteX71" fmla="*/ 637239 w 4761797"/>
              <a:gd name="connsiteY71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367946 w 4761797"/>
              <a:gd name="connsiteY16" fmla="*/ 1101995 h 4409679"/>
              <a:gd name="connsiteX17" fmla="*/ 3466595 w 4761797"/>
              <a:gd name="connsiteY17" fmla="*/ 1193397 h 4409679"/>
              <a:gd name="connsiteX18" fmla="*/ 3582738 w 4761797"/>
              <a:gd name="connsiteY18" fmla="*/ 1312220 h 4409679"/>
              <a:gd name="connsiteX19" fmla="*/ 3881231 w 4761797"/>
              <a:gd name="connsiteY19" fmla="*/ 1761204 h 4409679"/>
              <a:gd name="connsiteX20" fmla="*/ 3806611 w 4761797"/>
              <a:gd name="connsiteY20" fmla="*/ 1873450 h 4409679"/>
              <a:gd name="connsiteX21" fmla="*/ 2649956 w 4761797"/>
              <a:gd name="connsiteY21" fmla="*/ 2734000 h 4409679"/>
              <a:gd name="connsiteX22" fmla="*/ 1344072 w 4761797"/>
              <a:gd name="connsiteY22" fmla="*/ 3370057 h 4409679"/>
              <a:gd name="connsiteX23" fmla="*/ 1232136 w 4761797"/>
              <a:gd name="connsiteY23" fmla="*/ 3407476 h 4409679"/>
              <a:gd name="connsiteX24" fmla="*/ 882338 w 4761797"/>
              <a:gd name="connsiteY24" fmla="*/ 2752706 h 4409679"/>
              <a:gd name="connsiteX25" fmla="*/ 856367 w 4761797"/>
              <a:gd name="connsiteY25" fmla="*/ 2610450 h 4409679"/>
              <a:gd name="connsiteX26" fmla="*/ 858908 w 4761797"/>
              <a:gd name="connsiteY26" fmla="*/ 2697843 h 4409679"/>
              <a:gd name="connsiteX27" fmla="*/ 374375 w 4761797"/>
              <a:gd name="connsiteY27" fmla="*/ 3596787 h 4409679"/>
              <a:gd name="connsiteX28" fmla="*/ 1417980 w 4761797"/>
              <a:gd name="connsiteY28" fmla="*/ 3559334 h 4409679"/>
              <a:gd name="connsiteX29" fmla="*/ 2759768 w 4761797"/>
              <a:gd name="connsiteY29" fmla="*/ 2922576 h 4409679"/>
              <a:gd name="connsiteX30" fmla="*/ 3952465 w 4761797"/>
              <a:gd name="connsiteY30" fmla="*/ 2023632 h 4409679"/>
              <a:gd name="connsiteX31" fmla="*/ 4138826 w 4761797"/>
              <a:gd name="connsiteY31" fmla="*/ 1798899 h 4409679"/>
              <a:gd name="connsiteX32" fmla="*/ 4474268 w 4761797"/>
              <a:gd name="connsiteY32" fmla="*/ 1087234 h 4409679"/>
              <a:gd name="connsiteX33" fmla="*/ 4138826 w 4761797"/>
              <a:gd name="connsiteY33" fmla="*/ 974873 h 4409679"/>
              <a:gd name="connsiteX34" fmla="*/ 4165395 w 4761797"/>
              <a:gd name="connsiteY34" fmla="*/ 700025 h 4409679"/>
              <a:gd name="connsiteX35" fmla="*/ 4311207 w 4761797"/>
              <a:gd name="connsiteY35" fmla="*/ 708003 h 4409679"/>
              <a:gd name="connsiteX36" fmla="*/ 4697899 w 4761797"/>
              <a:gd name="connsiteY36" fmla="*/ 937420 h 4409679"/>
              <a:gd name="connsiteX37" fmla="*/ 4362458 w 4761797"/>
              <a:gd name="connsiteY37" fmla="*/ 1986178 h 4409679"/>
              <a:gd name="connsiteX38" fmla="*/ 3989735 w 4761797"/>
              <a:gd name="connsiteY38" fmla="*/ 2360738 h 4409679"/>
              <a:gd name="connsiteX39" fmla="*/ 3989253 w 4761797"/>
              <a:gd name="connsiteY39" fmla="*/ 2361116 h 4409679"/>
              <a:gd name="connsiteX40" fmla="*/ 3943902 w 4761797"/>
              <a:gd name="connsiteY40" fmla="*/ 2721741 h 4409679"/>
              <a:gd name="connsiteX41" fmla="*/ 3841218 w 4761797"/>
              <a:gd name="connsiteY41" fmla="*/ 3064677 h 4409679"/>
              <a:gd name="connsiteX42" fmla="*/ 2318452 w 4761797"/>
              <a:gd name="connsiteY42" fmla="*/ 3936717 h 4409679"/>
              <a:gd name="connsiteX43" fmla="*/ 1721994 w 4761797"/>
              <a:gd name="connsiteY43" fmla="*/ 3781140 h 4409679"/>
              <a:gd name="connsiteX44" fmla="*/ 1716163 w 4761797"/>
              <a:gd name="connsiteY44" fmla="*/ 3784067 h 4409679"/>
              <a:gd name="connsiteX45" fmla="*/ 709817 w 4761797"/>
              <a:gd name="connsiteY45" fmla="*/ 4008800 h 4409679"/>
              <a:gd name="connsiteX46" fmla="*/ 113474 w 4761797"/>
              <a:gd name="connsiteY46" fmla="*/ 3746613 h 4409679"/>
              <a:gd name="connsiteX47" fmla="*/ 821638 w 4761797"/>
              <a:gd name="connsiteY47" fmla="*/ 2323284 h 4409679"/>
              <a:gd name="connsiteX48" fmla="*/ 896327 w 4761797"/>
              <a:gd name="connsiteY48" fmla="*/ 1985696 h 4409679"/>
              <a:gd name="connsiteX49" fmla="*/ 1344072 w 4761797"/>
              <a:gd name="connsiteY49" fmla="*/ 1199974 h 4409679"/>
              <a:gd name="connsiteX50" fmla="*/ 2491383 w 4761797"/>
              <a:gd name="connsiteY50" fmla="*/ 779042 h 4409679"/>
              <a:gd name="connsiteX51" fmla="*/ 3075538 w 4761797"/>
              <a:gd name="connsiteY51" fmla="*/ 926370 h 4409679"/>
              <a:gd name="connsiteX52" fmla="*/ 3095617 w 4761797"/>
              <a:gd name="connsiteY52" fmla="*/ 937273 h 4409679"/>
              <a:gd name="connsiteX53" fmla="*/ 3095221 w 4761797"/>
              <a:gd name="connsiteY53" fmla="*/ 937420 h 4409679"/>
              <a:gd name="connsiteX54" fmla="*/ 3098039 w 4761797"/>
              <a:gd name="connsiteY54" fmla="*/ 938588 h 4409679"/>
              <a:gd name="connsiteX55" fmla="*/ 3229162 w 4761797"/>
              <a:gd name="connsiteY55" fmla="*/ 887670 h 4409679"/>
              <a:gd name="connsiteX56" fmla="*/ 3617024 w 4761797"/>
              <a:gd name="connsiteY56" fmla="*/ 787593 h 4409679"/>
              <a:gd name="connsiteX57" fmla="*/ 4165395 w 4761797"/>
              <a:gd name="connsiteY57" fmla="*/ 700025 h 4409679"/>
              <a:gd name="connsiteX58" fmla="*/ 637239 w 4761797"/>
              <a:gd name="connsiteY58" fmla="*/ 0 h 4409679"/>
              <a:gd name="connsiteX59" fmla="*/ 712216 w 4761797"/>
              <a:gd name="connsiteY59" fmla="*/ 74965 h 4409679"/>
              <a:gd name="connsiteX60" fmla="*/ 1237002 w 4761797"/>
              <a:gd name="connsiteY60" fmla="*/ 599752 h 4409679"/>
              <a:gd name="connsiteX61" fmla="*/ 1311967 w 4761797"/>
              <a:gd name="connsiteY61" fmla="*/ 674728 h 4409679"/>
              <a:gd name="connsiteX62" fmla="*/ 1237002 w 4761797"/>
              <a:gd name="connsiteY62" fmla="*/ 712216 h 4409679"/>
              <a:gd name="connsiteX63" fmla="*/ 712216 w 4761797"/>
              <a:gd name="connsiteY63" fmla="*/ 1274479 h 4409679"/>
              <a:gd name="connsiteX64" fmla="*/ 637239 w 4761797"/>
              <a:gd name="connsiteY64" fmla="*/ 1311967 h 4409679"/>
              <a:gd name="connsiteX65" fmla="*/ 599751 w 4761797"/>
              <a:gd name="connsiteY65" fmla="*/ 1274479 h 4409679"/>
              <a:gd name="connsiteX66" fmla="*/ 37488 w 4761797"/>
              <a:gd name="connsiteY66" fmla="*/ 712216 h 4409679"/>
              <a:gd name="connsiteX67" fmla="*/ 0 w 4761797"/>
              <a:gd name="connsiteY67" fmla="*/ 674728 h 4409679"/>
              <a:gd name="connsiteX68" fmla="*/ 37488 w 4761797"/>
              <a:gd name="connsiteY68" fmla="*/ 599752 h 4409679"/>
              <a:gd name="connsiteX69" fmla="*/ 599751 w 4761797"/>
              <a:gd name="connsiteY69" fmla="*/ 74965 h 4409679"/>
              <a:gd name="connsiteX70" fmla="*/ 637239 w 4761797"/>
              <a:gd name="connsiteY70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6367 w 4761797"/>
              <a:gd name="connsiteY24" fmla="*/ 2610450 h 4409679"/>
              <a:gd name="connsiteX25" fmla="*/ 858908 w 4761797"/>
              <a:gd name="connsiteY25" fmla="*/ 2697843 h 4409679"/>
              <a:gd name="connsiteX26" fmla="*/ 374375 w 4761797"/>
              <a:gd name="connsiteY26" fmla="*/ 3596787 h 4409679"/>
              <a:gd name="connsiteX27" fmla="*/ 1417980 w 4761797"/>
              <a:gd name="connsiteY27" fmla="*/ 3559334 h 4409679"/>
              <a:gd name="connsiteX28" fmla="*/ 2759768 w 4761797"/>
              <a:gd name="connsiteY28" fmla="*/ 2922576 h 4409679"/>
              <a:gd name="connsiteX29" fmla="*/ 3952465 w 4761797"/>
              <a:gd name="connsiteY29" fmla="*/ 2023632 h 4409679"/>
              <a:gd name="connsiteX30" fmla="*/ 4138826 w 4761797"/>
              <a:gd name="connsiteY30" fmla="*/ 1798899 h 4409679"/>
              <a:gd name="connsiteX31" fmla="*/ 4474268 w 4761797"/>
              <a:gd name="connsiteY31" fmla="*/ 1087234 h 4409679"/>
              <a:gd name="connsiteX32" fmla="*/ 4138826 w 4761797"/>
              <a:gd name="connsiteY32" fmla="*/ 974873 h 4409679"/>
              <a:gd name="connsiteX33" fmla="*/ 4165395 w 4761797"/>
              <a:gd name="connsiteY33" fmla="*/ 700025 h 4409679"/>
              <a:gd name="connsiteX34" fmla="*/ 4311207 w 4761797"/>
              <a:gd name="connsiteY34" fmla="*/ 708003 h 4409679"/>
              <a:gd name="connsiteX35" fmla="*/ 4697899 w 4761797"/>
              <a:gd name="connsiteY35" fmla="*/ 937420 h 4409679"/>
              <a:gd name="connsiteX36" fmla="*/ 4362458 w 4761797"/>
              <a:gd name="connsiteY36" fmla="*/ 1986178 h 4409679"/>
              <a:gd name="connsiteX37" fmla="*/ 3989735 w 4761797"/>
              <a:gd name="connsiteY37" fmla="*/ 2360738 h 4409679"/>
              <a:gd name="connsiteX38" fmla="*/ 3989253 w 4761797"/>
              <a:gd name="connsiteY38" fmla="*/ 2361116 h 4409679"/>
              <a:gd name="connsiteX39" fmla="*/ 3943902 w 4761797"/>
              <a:gd name="connsiteY39" fmla="*/ 2721741 h 4409679"/>
              <a:gd name="connsiteX40" fmla="*/ 3841218 w 4761797"/>
              <a:gd name="connsiteY40" fmla="*/ 3064677 h 4409679"/>
              <a:gd name="connsiteX41" fmla="*/ 2318452 w 4761797"/>
              <a:gd name="connsiteY41" fmla="*/ 3936717 h 4409679"/>
              <a:gd name="connsiteX42" fmla="*/ 1721994 w 4761797"/>
              <a:gd name="connsiteY42" fmla="*/ 3781140 h 4409679"/>
              <a:gd name="connsiteX43" fmla="*/ 1716163 w 4761797"/>
              <a:gd name="connsiteY43" fmla="*/ 3784067 h 4409679"/>
              <a:gd name="connsiteX44" fmla="*/ 709817 w 4761797"/>
              <a:gd name="connsiteY44" fmla="*/ 4008800 h 4409679"/>
              <a:gd name="connsiteX45" fmla="*/ 113474 w 4761797"/>
              <a:gd name="connsiteY45" fmla="*/ 3746613 h 4409679"/>
              <a:gd name="connsiteX46" fmla="*/ 821638 w 4761797"/>
              <a:gd name="connsiteY46" fmla="*/ 2323284 h 4409679"/>
              <a:gd name="connsiteX47" fmla="*/ 896327 w 4761797"/>
              <a:gd name="connsiteY47" fmla="*/ 1985696 h 4409679"/>
              <a:gd name="connsiteX48" fmla="*/ 1344072 w 4761797"/>
              <a:gd name="connsiteY48" fmla="*/ 1199974 h 4409679"/>
              <a:gd name="connsiteX49" fmla="*/ 2491383 w 4761797"/>
              <a:gd name="connsiteY49" fmla="*/ 779042 h 4409679"/>
              <a:gd name="connsiteX50" fmla="*/ 3075538 w 4761797"/>
              <a:gd name="connsiteY50" fmla="*/ 926370 h 4409679"/>
              <a:gd name="connsiteX51" fmla="*/ 3095617 w 4761797"/>
              <a:gd name="connsiteY51" fmla="*/ 937273 h 4409679"/>
              <a:gd name="connsiteX52" fmla="*/ 3095221 w 4761797"/>
              <a:gd name="connsiteY52" fmla="*/ 937420 h 4409679"/>
              <a:gd name="connsiteX53" fmla="*/ 3098039 w 4761797"/>
              <a:gd name="connsiteY53" fmla="*/ 938588 h 4409679"/>
              <a:gd name="connsiteX54" fmla="*/ 3229162 w 4761797"/>
              <a:gd name="connsiteY54" fmla="*/ 887670 h 4409679"/>
              <a:gd name="connsiteX55" fmla="*/ 3617024 w 4761797"/>
              <a:gd name="connsiteY55" fmla="*/ 787593 h 4409679"/>
              <a:gd name="connsiteX56" fmla="*/ 4165395 w 4761797"/>
              <a:gd name="connsiteY56" fmla="*/ 700025 h 4409679"/>
              <a:gd name="connsiteX57" fmla="*/ 637239 w 4761797"/>
              <a:gd name="connsiteY57" fmla="*/ 0 h 4409679"/>
              <a:gd name="connsiteX58" fmla="*/ 712216 w 4761797"/>
              <a:gd name="connsiteY58" fmla="*/ 74965 h 4409679"/>
              <a:gd name="connsiteX59" fmla="*/ 1237002 w 4761797"/>
              <a:gd name="connsiteY59" fmla="*/ 599752 h 4409679"/>
              <a:gd name="connsiteX60" fmla="*/ 1311967 w 4761797"/>
              <a:gd name="connsiteY60" fmla="*/ 674728 h 4409679"/>
              <a:gd name="connsiteX61" fmla="*/ 1237002 w 4761797"/>
              <a:gd name="connsiteY61" fmla="*/ 712216 h 4409679"/>
              <a:gd name="connsiteX62" fmla="*/ 712216 w 4761797"/>
              <a:gd name="connsiteY62" fmla="*/ 1274479 h 4409679"/>
              <a:gd name="connsiteX63" fmla="*/ 637239 w 4761797"/>
              <a:gd name="connsiteY63" fmla="*/ 1311967 h 4409679"/>
              <a:gd name="connsiteX64" fmla="*/ 599751 w 4761797"/>
              <a:gd name="connsiteY64" fmla="*/ 1274479 h 4409679"/>
              <a:gd name="connsiteX65" fmla="*/ 37488 w 4761797"/>
              <a:gd name="connsiteY65" fmla="*/ 712216 h 4409679"/>
              <a:gd name="connsiteX66" fmla="*/ 0 w 4761797"/>
              <a:gd name="connsiteY66" fmla="*/ 674728 h 4409679"/>
              <a:gd name="connsiteX67" fmla="*/ 37488 w 4761797"/>
              <a:gd name="connsiteY67" fmla="*/ 599752 h 4409679"/>
              <a:gd name="connsiteX68" fmla="*/ 599751 w 4761797"/>
              <a:gd name="connsiteY68" fmla="*/ 74965 h 4409679"/>
              <a:gd name="connsiteX69" fmla="*/ 637239 w 4761797"/>
              <a:gd name="connsiteY69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6367 w 4761797"/>
              <a:gd name="connsiteY24" fmla="*/ 2610450 h 4409679"/>
              <a:gd name="connsiteX25" fmla="*/ 858908 w 4761797"/>
              <a:gd name="connsiteY25" fmla="*/ 2697843 h 4409679"/>
              <a:gd name="connsiteX26" fmla="*/ 374375 w 4761797"/>
              <a:gd name="connsiteY26" fmla="*/ 3596787 h 4409679"/>
              <a:gd name="connsiteX27" fmla="*/ 1417980 w 4761797"/>
              <a:gd name="connsiteY27" fmla="*/ 3559334 h 4409679"/>
              <a:gd name="connsiteX28" fmla="*/ 2759768 w 4761797"/>
              <a:gd name="connsiteY28" fmla="*/ 2922576 h 4409679"/>
              <a:gd name="connsiteX29" fmla="*/ 3952465 w 4761797"/>
              <a:gd name="connsiteY29" fmla="*/ 2023632 h 4409679"/>
              <a:gd name="connsiteX30" fmla="*/ 4138826 w 4761797"/>
              <a:gd name="connsiteY30" fmla="*/ 1798899 h 4409679"/>
              <a:gd name="connsiteX31" fmla="*/ 4474268 w 4761797"/>
              <a:gd name="connsiteY31" fmla="*/ 1087234 h 4409679"/>
              <a:gd name="connsiteX32" fmla="*/ 4138826 w 4761797"/>
              <a:gd name="connsiteY32" fmla="*/ 974873 h 4409679"/>
              <a:gd name="connsiteX33" fmla="*/ 4165395 w 4761797"/>
              <a:gd name="connsiteY33" fmla="*/ 700025 h 4409679"/>
              <a:gd name="connsiteX34" fmla="*/ 4311207 w 4761797"/>
              <a:gd name="connsiteY34" fmla="*/ 708003 h 4409679"/>
              <a:gd name="connsiteX35" fmla="*/ 4697899 w 4761797"/>
              <a:gd name="connsiteY35" fmla="*/ 937420 h 4409679"/>
              <a:gd name="connsiteX36" fmla="*/ 4362458 w 4761797"/>
              <a:gd name="connsiteY36" fmla="*/ 1986178 h 4409679"/>
              <a:gd name="connsiteX37" fmla="*/ 3989735 w 4761797"/>
              <a:gd name="connsiteY37" fmla="*/ 2360738 h 4409679"/>
              <a:gd name="connsiteX38" fmla="*/ 3989253 w 4761797"/>
              <a:gd name="connsiteY38" fmla="*/ 2361116 h 4409679"/>
              <a:gd name="connsiteX39" fmla="*/ 3943902 w 4761797"/>
              <a:gd name="connsiteY39" fmla="*/ 2721741 h 4409679"/>
              <a:gd name="connsiteX40" fmla="*/ 3841218 w 4761797"/>
              <a:gd name="connsiteY40" fmla="*/ 3064677 h 4409679"/>
              <a:gd name="connsiteX41" fmla="*/ 2318452 w 4761797"/>
              <a:gd name="connsiteY41" fmla="*/ 3936717 h 4409679"/>
              <a:gd name="connsiteX42" fmla="*/ 1721994 w 4761797"/>
              <a:gd name="connsiteY42" fmla="*/ 3781140 h 4409679"/>
              <a:gd name="connsiteX43" fmla="*/ 1716163 w 4761797"/>
              <a:gd name="connsiteY43" fmla="*/ 3784067 h 4409679"/>
              <a:gd name="connsiteX44" fmla="*/ 709817 w 4761797"/>
              <a:gd name="connsiteY44" fmla="*/ 4008800 h 4409679"/>
              <a:gd name="connsiteX45" fmla="*/ 113474 w 4761797"/>
              <a:gd name="connsiteY45" fmla="*/ 3746613 h 4409679"/>
              <a:gd name="connsiteX46" fmla="*/ 821638 w 4761797"/>
              <a:gd name="connsiteY46" fmla="*/ 2323284 h 4409679"/>
              <a:gd name="connsiteX47" fmla="*/ 896327 w 4761797"/>
              <a:gd name="connsiteY47" fmla="*/ 1985696 h 4409679"/>
              <a:gd name="connsiteX48" fmla="*/ 1344072 w 4761797"/>
              <a:gd name="connsiteY48" fmla="*/ 1199974 h 4409679"/>
              <a:gd name="connsiteX49" fmla="*/ 2491383 w 4761797"/>
              <a:gd name="connsiteY49" fmla="*/ 779042 h 4409679"/>
              <a:gd name="connsiteX50" fmla="*/ 3075538 w 4761797"/>
              <a:gd name="connsiteY50" fmla="*/ 926370 h 4409679"/>
              <a:gd name="connsiteX51" fmla="*/ 3095617 w 4761797"/>
              <a:gd name="connsiteY51" fmla="*/ 937273 h 4409679"/>
              <a:gd name="connsiteX52" fmla="*/ 3095221 w 4761797"/>
              <a:gd name="connsiteY52" fmla="*/ 937420 h 4409679"/>
              <a:gd name="connsiteX53" fmla="*/ 3229162 w 4761797"/>
              <a:gd name="connsiteY53" fmla="*/ 887670 h 4409679"/>
              <a:gd name="connsiteX54" fmla="*/ 3617024 w 4761797"/>
              <a:gd name="connsiteY54" fmla="*/ 787593 h 4409679"/>
              <a:gd name="connsiteX55" fmla="*/ 4165395 w 4761797"/>
              <a:gd name="connsiteY55" fmla="*/ 700025 h 4409679"/>
              <a:gd name="connsiteX56" fmla="*/ 637239 w 4761797"/>
              <a:gd name="connsiteY56" fmla="*/ 0 h 4409679"/>
              <a:gd name="connsiteX57" fmla="*/ 712216 w 4761797"/>
              <a:gd name="connsiteY57" fmla="*/ 74965 h 4409679"/>
              <a:gd name="connsiteX58" fmla="*/ 1237002 w 4761797"/>
              <a:gd name="connsiteY58" fmla="*/ 599752 h 4409679"/>
              <a:gd name="connsiteX59" fmla="*/ 1311967 w 4761797"/>
              <a:gd name="connsiteY59" fmla="*/ 674728 h 4409679"/>
              <a:gd name="connsiteX60" fmla="*/ 1237002 w 4761797"/>
              <a:gd name="connsiteY60" fmla="*/ 712216 h 4409679"/>
              <a:gd name="connsiteX61" fmla="*/ 712216 w 4761797"/>
              <a:gd name="connsiteY61" fmla="*/ 1274479 h 4409679"/>
              <a:gd name="connsiteX62" fmla="*/ 637239 w 4761797"/>
              <a:gd name="connsiteY62" fmla="*/ 1311967 h 4409679"/>
              <a:gd name="connsiteX63" fmla="*/ 599751 w 4761797"/>
              <a:gd name="connsiteY63" fmla="*/ 1274479 h 4409679"/>
              <a:gd name="connsiteX64" fmla="*/ 37488 w 4761797"/>
              <a:gd name="connsiteY64" fmla="*/ 712216 h 4409679"/>
              <a:gd name="connsiteX65" fmla="*/ 0 w 4761797"/>
              <a:gd name="connsiteY65" fmla="*/ 674728 h 4409679"/>
              <a:gd name="connsiteX66" fmla="*/ 37488 w 4761797"/>
              <a:gd name="connsiteY66" fmla="*/ 599752 h 4409679"/>
              <a:gd name="connsiteX67" fmla="*/ 599751 w 4761797"/>
              <a:gd name="connsiteY67" fmla="*/ 74965 h 4409679"/>
              <a:gd name="connsiteX68" fmla="*/ 637239 w 4761797"/>
              <a:gd name="connsiteY68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6367 w 4761797"/>
              <a:gd name="connsiteY24" fmla="*/ 2610450 h 4409679"/>
              <a:gd name="connsiteX25" fmla="*/ 858908 w 4761797"/>
              <a:gd name="connsiteY25" fmla="*/ 2697843 h 4409679"/>
              <a:gd name="connsiteX26" fmla="*/ 374375 w 4761797"/>
              <a:gd name="connsiteY26" fmla="*/ 3596787 h 4409679"/>
              <a:gd name="connsiteX27" fmla="*/ 1417980 w 4761797"/>
              <a:gd name="connsiteY27" fmla="*/ 3559334 h 4409679"/>
              <a:gd name="connsiteX28" fmla="*/ 2759768 w 4761797"/>
              <a:gd name="connsiteY28" fmla="*/ 2922576 h 4409679"/>
              <a:gd name="connsiteX29" fmla="*/ 3952465 w 4761797"/>
              <a:gd name="connsiteY29" fmla="*/ 2023632 h 4409679"/>
              <a:gd name="connsiteX30" fmla="*/ 4138826 w 4761797"/>
              <a:gd name="connsiteY30" fmla="*/ 1798899 h 4409679"/>
              <a:gd name="connsiteX31" fmla="*/ 4474268 w 4761797"/>
              <a:gd name="connsiteY31" fmla="*/ 1087234 h 4409679"/>
              <a:gd name="connsiteX32" fmla="*/ 4138826 w 4761797"/>
              <a:gd name="connsiteY32" fmla="*/ 974873 h 4409679"/>
              <a:gd name="connsiteX33" fmla="*/ 4165395 w 4761797"/>
              <a:gd name="connsiteY33" fmla="*/ 700025 h 4409679"/>
              <a:gd name="connsiteX34" fmla="*/ 4311207 w 4761797"/>
              <a:gd name="connsiteY34" fmla="*/ 708003 h 4409679"/>
              <a:gd name="connsiteX35" fmla="*/ 4697899 w 4761797"/>
              <a:gd name="connsiteY35" fmla="*/ 937420 h 4409679"/>
              <a:gd name="connsiteX36" fmla="*/ 4362458 w 4761797"/>
              <a:gd name="connsiteY36" fmla="*/ 1986178 h 4409679"/>
              <a:gd name="connsiteX37" fmla="*/ 3989735 w 4761797"/>
              <a:gd name="connsiteY37" fmla="*/ 2360738 h 4409679"/>
              <a:gd name="connsiteX38" fmla="*/ 3989253 w 4761797"/>
              <a:gd name="connsiteY38" fmla="*/ 2361116 h 4409679"/>
              <a:gd name="connsiteX39" fmla="*/ 3943902 w 4761797"/>
              <a:gd name="connsiteY39" fmla="*/ 2721741 h 4409679"/>
              <a:gd name="connsiteX40" fmla="*/ 3841218 w 4761797"/>
              <a:gd name="connsiteY40" fmla="*/ 3064677 h 4409679"/>
              <a:gd name="connsiteX41" fmla="*/ 2318452 w 4761797"/>
              <a:gd name="connsiteY41" fmla="*/ 3936717 h 4409679"/>
              <a:gd name="connsiteX42" fmla="*/ 1721994 w 4761797"/>
              <a:gd name="connsiteY42" fmla="*/ 3781140 h 4409679"/>
              <a:gd name="connsiteX43" fmla="*/ 1716163 w 4761797"/>
              <a:gd name="connsiteY43" fmla="*/ 3784067 h 4409679"/>
              <a:gd name="connsiteX44" fmla="*/ 709817 w 4761797"/>
              <a:gd name="connsiteY44" fmla="*/ 4008800 h 4409679"/>
              <a:gd name="connsiteX45" fmla="*/ 113474 w 4761797"/>
              <a:gd name="connsiteY45" fmla="*/ 3746613 h 4409679"/>
              <a:gd name="connsiteX46" fmla="*/ 821638 w 4761797"/>
              <a:gd name="connsiteY46" fmla="*/ 2323284 h 4409679"/>
              <a:gd name="connsiteX47" fmla="*/ 896327 w 4761797"/>
              <a:gd name="connsiteY47" fmla="*/ 1985696 h 4409679"/>
              <a:gd name="connsiteX48" fmla="*/ 1344072 w 4761797"/>
              <a:gd name="connsiteY48" fmla="*/ 1199974 h 4409679"/>
              <a:gd name="connsiteX49" fmla="*/ 2491383 w 4761797"/>
              <a:gd name="connsiteY49" fmla="*/ 779042 h 4409679"/>
              <a:gd name="connsiteX50" fmla="*/ 3075538 w 4761797"/>
              <a:gd name="connsiteY50" fmla="*/ 926370 h 4409679"/>
              <a:gd name="connsiteX51" fmla="*/ 3095617 w 4761797"/>
              <a:gd name="connsiteY51" fmla="*/ 937273 h 4409679"/>
              <a:gd name="connsiteX52" fmla="*/ 3229162 w 4761797"/>
              <a:gd name="connsiteY52" fmla="*/ 887670 h 4409679"/>
              <a:gd name="connsiteX53" fmla="*/ 3617024 w 4761797"/>
              <a:gd name="connsiteY53" fmla="*/ 787593 h 4409679"/>
              <a:gd name="connsiteX54" fmla="*/ 4165395 w 4761797"/>
              <a:gd name="connsiteY54" fmla="*/ 700025 h 4409679"/>
              <a:gd name="connsiteX55" fmla="*/ 637239 w 4761797"/>
              <a:gd name="connsiteY55" fmla="*/ 0 h 4409679"/>
              <a:gd name="connsiteX56" fmla="*/ 712216 w 4761797"/>
              <a:gd name="connsiteY56" fmla="*/ 74965 h 4409679"/>
              <a:gd name="connsiteX57" fmla="*/ 1237002 w 4761797"/>
              <a:gd name="connsiteY57" fmla="*/ 599752 h 4409679"/>
              <a:gd name="connsiteX58" fmla="*/ 1311967 w 4761797"/>
              <a:gd name="connsiteY58" fmla="*/ 674728 h 4409679"/>
              <a:gd name="connsiteX59" fmla="*/ 1237002 w 4761797"/>
              <a:gd name="connsiteY59" fmla="*/ 712216 h 4409679"/>
              <a:gd name="connsiteX60" fmla="*/ 712216 w 4761797"/>
              <a:gd name="connsiteY60" fmla="*/ 1274479 h 4409679"/>
              <a:gd name="connsiteX61" fmla="*/ 637239 w 4761797"/>
              <a:gd name="connsiteY61" fmla="*/ 1311967 h 4409679"/>
              <a:gd name="connsiteX62" fmla="*/ 599751 w 4761797"/>
              <a:gd name="connsiteY62" fmla="*/ 1274479 h 4409679"/>
              <a:gd name="connsiteX63" fmla="*/ 37488 w 4761797"/>
              <a:gd name="connsiteY63" fmla="*/ 712216 h 4409679"/>
              <a:gd name="connsiteX64" fmla="*/ 0 w 4761797"/>
              <a:gd name="connsiteY64" fmla="*/ 674728 h 4409679"/>
              <a:gd name="connsiteX65" fmla="*/ 37488 w 4761797"/>
              <a:gd name="connsiteY65" fmla="*/ 599752 h 4409679"/>
              <a:gd name="connsiteX66" fmla="*/ 599751 w 4761797"/>
              <a:gd name="connsiteY66" fmla="*/ 74965 h 4409679"/>
              <a:gd name="connsiteX67" fmla="*/ 637239 w 4761797"/>
              <a:gd name="connsiteY67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  <a:gd name="connsiteX0" fmla="*/ 4063449 w 4761797"/>
              <a:gd name="connsiteY0" fmla="*/ 3626137 h 4409679"/>
              <a:gd name="connsiteX1" fmla="*/ 4063449 w 4761797"/>
              <a:gd name="connsiteY1" fmla="*/ 3663453 h 4409679"/>
              <a:gd name="connsiteX2" fmla="*/ 4391441 w 4761797"/>
              <a:gd name="connsiteY2" fmla="*/ 3999250 h 4409679"/>
              <a:gd name="connsiteX3" fmla="*/ 4427884 w 4761797"/>
              <a:gd name="connsiteY3" fmla="*/ 4036566 h 4409679"/>
              <a:gd name="connsiteX4" fmla="*/ 4391441 w 4761797"/>
              <a:gd name="connsiteY4" fmla="*/ 4036566 h 4409679"/>
              <a:gd name="connsiteX5" fmla="*/ 4063449 w 4761797"/>
              <a:gd name="connsiteY5" fmla="*/ 4372363 h 4409679"/>
              <a:gd name="connsiteX6" fmla="*/ 4063449 w 4761797"/>
              <a:gd name="connsiteY6" fmla="*/ 4409679 h 4409679"/>
              <a:gd name="connsiteX7" fmla="*/ 4027005 w 4761797"/>
              <a:gd name="connsiteY7" fmla="*/ 4372363 h 4409679"/>
              <a:gd name="connsiteX8" fmla="*/ 3699013 w 4761797"/>
              <a:gd name="connsiteY8" fmla="*/ 4036566 h 4409679"/>
              <a:gd name="connsiteX9" fmla="*/ 3662570 w 4761797"/>
              <a:gd name="connsiteY9" fmla="*/ 4036566 h 4409679"/>
              <a:gd name="connsiteX10" fmla="*/ 3699013 w 4761797"/>
              <a:gd name="connsiteY10" fmla="*/ 3999250 h 4409679"/>
              <a:gd name="connsiteX11" fmla="*/ 4027005 w 4761797"/>
              <a:gd name="connsiteY11" fmla="*/ 3663453 h 4409679"/>
              <a:gd name="connsiteX12" fmla="*/ 4063449 w 4761797"/>
              <a:gd name="connsiteY12" fmla="*/ 3626137 h 4409679"/>
              <a:gd name="connsiteX13" fmla="*/ 4138826 w 4761797"/>
              <a:gd name="connsiteY13" fmla="*/ 974873 h 4409679"/>
              <a:gd name="connsiteX14" fmla="*/ 3691564 w 4761797"/>
              <a:gd name="connsiteY14" fmla="*/ 1049781 h 4409679"/>
              <a:gd name="connsiteX15" fmla="*/ 3393393 w 4761797"/>
              <a:gd name="connsiteY15" fmla="*/ 1124699 h 4409679"/>
              <a:gd name="connsiteX16" fmla="*/ 3466595 w 4761797"/>
              <a:gd name="connsiteY16" fmla="*/ 1193397 h 4409679"/>
              <a:gd name="connsiteX17" fmla="*/ 3582738 w 4761797"/>
              <a:gd name="connsiteY17" fmla="*/ 1312220 h 4409679"/>
              <a:gd name="connsiteX18" fmla="*/ 3881231 w 4761797"/>
              <a:gd name="connsiteY18" fmla="*/ 1761204 h 4409679"/>
              <a:gd name="connsiteX19" fmla="*/ 3806611 w 4761797"/>
              <a:gd name="connsiteY19" fmla="*/ 1873450 h 4409679"/>
              <a:gd name="connsiteX20" fmla="*/ 2649956 w 4761797"/>
              <a:gd name="connsiteY20" fmla="*/ 2734000 h 4409679"/>
              <a:gd name="connsiteX21" fmla="*/ 1344072 w 4761797"/>
              <a:gd name="connsiteY21" fmla="*/ 3370057 h 4409679"/>
              <a:gd name="connsiteX22" fmla="*/ 1232136 w 4761797"/>
              <a:gd name="connsiteY22" fmla="*/ 3407476 h 4409679"/>
              <a:gd name="connsiteX23" fmla="*/ 882338 w 4761797"/>
              <a:gd name="connsiteY23" fmla="*/ 2752706 h 4409679"/>
              <a:gd name="connsiteX24" fmla="*/ 858908 w 4761797"/>
              <a:gd name="connsiteY24" fmla="*/ 2697843 h 4409679"/>
              <a:gd name="connsiteX25" fmla="*/ 374375 w 4761797"/>
              <a:gd name="connsiteY25" fmla="*/ 3596787 h 4409679"/>
              <a:gd name="connsiteX26" fmla="*/ 1417980 w 4761797"/>
              <a:gd name="connsiteY26" fmla="*/ 3559334 h 4409679"/>
              <a:gd name="connsiteX27" fmla="*/ 2759768 w 4761797"/>
              <a:gd name="connsiteY27" fmla="*/ 2922576 h 4409679"/>
              <a:gd name="connsiteX28" fmla="*/ 3952465 w 4761797"/>
              <a:gd name="connsiteY28" fmla="*/ 2023632 h 4409679"/>
              <a:gd name="connsiteX29" fmla="*/ 4138826 w 4761797"/>
              <a:gd name="connsiteY29" fmla="*/ 1798899 h 4409679"/>
              <a:gd name="connsiteX30" fmla="*/ 4474268 w 4761797"/>
              <a:gd name="connsiteY30" fmla="*/ 1087234 h 4409679"/>
              <a:gd name="connsiteX31" fmla="*/ 4138826 w 4761797"/>
              <a:gd name="connsiteY31" fmla="*/ 974873 h 4409679"/>
              <a:gd name="connsiteX32" fmla="*/ 4165395 w 4761797"/>
              <a:gd name="connsiteY32" fmla="*/ 700025 h 4409679"/>
              <a:gd name="connsiteX33" fmla="*/ 4311207 w 4761797"/>
              <a:gd name="connsiteY33" fmla="*/ 708003 h 4409679"/>
              <a:gd name="connsiteX34" fmla="*/ 4697899 w 4761797"/>
              <a:gd name="connsiteY34" fmla="*/ 937420 h 4409679"/>
              <a:gd name="connsiteX35" fmla="*/ 4362458 w 4761797"/>
              <a:gd name="connsiteY35" fmla="*/ 1986178 h 4409679"/>
              <a:gd name="connsiteX36" fmla="*/ 3989735 w 4761797"/>
              <a:gd name="connsiteY36" fmla="*/ 2360738 h 4409679"/>
              <a:gd name="connsiteX37" fmla="*/ 3989253 w 4761797"/>
              <a:gd name="connsiteY37" fmla="*/ 2361116 h 4409679"/>
              <a:gd name="connsiteX38" fmla="*/ 3943902 w 4761797"/>
              <a:gd name="connsiteY38" fmla="*/ 2721741 h 4409679"/>
              <a:gd name="connsiteX39" fmla="*/ 3841218 w 4761797"/>
              <a:gd name="connsiteY39" fmla="*/ 3064677 h 4409679"/>
              <a:gd name="connsiteX40" fmla="*/ 2318452 w 4761797"/>
              <a:gd name="connsiteY40" fmla="*/ 3936717 h 4409679"/>
              <a:gd name="connsiteX41" fmla="*/ 1721994 w 4761797"/>
              <a:gd name="connsiteY41" fmla="*/ 3781140 h 4409679"/>
              <a:gd name="connsiteX42" fmla="*/ 1716163 w 4761797"/>
              <a:gd name="connsiteY42" fmla="*/ 3784067 h 4409679"/>
              <a:gd name="connsiteX43" fmla="*/ 709817 w 4761797"/>
              <a:gd name="connsiteY43" fmla="*/ 4008800 h 4409679"/>
              <a:gd name="connsiteX44" fmla="*/ 113474 w 4761797"/>
              <a:gd name="connsiteY44" fmla="*/ 3746613 h 4409679"/>
              <a:gd name="connsiteX45" fmla="*/ 821638 w 4761797"/>
              <a:gd name="connsiteY45" fmla="*/ 2323284 h 4409679"/>
              <a:gd name="connsiteX46" fmla="*/ 896327 w 4761797"/>
              <a:gd name="connsiteY46" fmla="*/ 1985696 h 4409679"/>
              <a:gd name="connsiteX47" fmla="*/ 1344072 w 4761797"/>
              <a:gd name="connsiteY47" fmla="*/ 1199974 h 4409679"/>
              <a:gd name="connsiteX48" fmla="*/ 2491383 w 4761797"/>
              <a:gd name="connsiteY48" fmla="*/ 779042 h 4409679"/>
              <a:gd name="connsiteX49" fmla="*/ 3075538 w 4761797"/>
              <a:gd name="connsiteY49" fmla="*/ 926370 h 4409679"/>
              <a:gd name="connsiteX50" fmla="*/ 3095617 w 4761797"/>
              <a:gd name="connsiteY50" fmla="*/ 937273 h 4409679"/>
              <a:gd name="connsiteX51" fmla="*/ 3229162 w 4761797"/>
              <a:gd name="connsiteY51" fmla="*/ 887670 h 4409679"/>
              <a:gd name="connsiteX52" fmla="*/ 3617024 w 4761797"/>
              <a:gd name="connsiteY52" fmla="*/ 787593 h 4409679"/>
              <a:gd name="connsiteX53" fmla="*/ 4165395 w 4761797"/>
              <a:gd name="connsiteY53" fmla="*/ 700025 h 4409679"/>
              <a:gd name="connsiteX54" fmla="*/ 637239 w 4761797"/>
              <a:gd name="connsiteY54" fmla="*/ 0 h 4409679"/>
              <a:gd name="connsiteX55" fmla="*/ 712216 w 4761797"/>
              <a:gd name="connsiteY55" fmla="*/ 74965 h 4409679"/>
              <a:gd name="connsiteX56" fmla="*/ 1237002 w 4761797"/>
              <a:gd name="connsiteY56" fmla="*/ 599752 h 4409679"/>
              <a:gd name="connsiteX57" fmla="*/ 1311967 w 4761797"/>
              <a:gd name="connsiteY57" fmla="*/ 674728 h 4409679"/>
              <a:gd name="connsiteX58" fmla="*/ 1237002 w 4761797"/>
              <a:gd name="connsiteY58" fmla="*/ 712216 h 4409679"/>
              <a:gd name="connsiteX59" fmla="*/ 712216 w 4761797"/>
              <a:gd name="connsiteY59" fmla="*/ 1274479 h 4409679"/>
              <a:gd name="connsiteX60" fmla="*/ 637239 w 4761797"/>
              <a:gd name="connsiteY60" fmla="*/ 1311967 h 4409679"/>
              <a:gd name="connsiteX61" fmla="*/ 599751 w 4761797"/>
              <a:gd name="connsiteY61" fmla="*/ 1274479 h 4409679"/>
              <a:gd name="connsiteX62" fmla="*/ 37488 w 4761797"/>
              <a:gd name="connsiteY62" fmla="*/ 712216 h 4409679"/>
              <a:gd name="connsiteX63" fmla="*/ 0 w 4761797"/>
              <a:gd name="connsiteY63" fmla="*/ 674728 h 4409679"/>
              <a:gd name="connsiteX64" fmla="*/ 37488 w 4761797"/>
              <a:gd name="connsiteY64" fmla="*/ 599752 h 4409679"/>
              <a:gd name="connsiteX65" fmla="*/ 599751 w 4761797"/>
              <a:gd name="connsiteY65" fmla="*/ 74965 h 4409679"/>
              <a:gd name="connsiteX66" fmla="*/ 637239 w 4761797"/>
              <a:gd name="connsiteY66" fmla="*/ 0 h 4409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4761797" h="4409679">
                <a:moveTo>
                  <a:pt x="4063449" y="3626137"/>
                </a:moveTo>
                <a:lnTo>
                  <a:pt x="4063449" y="3663453"/>
                </a:lnTo>
                <a:cubicBezTo>
                  <a:pt x="4063449" y="3850010"/>
                  <a:pt x="4209223" y="3999250"/>
                  <a:pt x="4391441" y="3999250"/>
                </a:cubicBezTo>
                <a:cubicBezTo>
                  <a:pt x="4427884" y="3999250"/>
                  <a:pt x="4427884" y="3999250"/>
                  <a:pt x="4427884" y="4036566"/>
                </a:cubicBezTo>
                <a:lnTo>
                  <a:pt x="4391441" y="4036566"/>
                </a:lnTo>
                <a:cubicBezTo>
                  <a:pt x="4209223" y="4036566"/>
                  <a:pt x="4063449" y="4185807"/>
                  <a:pt x="4063449" y="4372363"/>
                </a:cubicBezTo>
                <a:lnTo>
                  <a:pt x="4063449" y="4409679"/>
                </a:lnTo>
                <a:cubicBezTo>
                  <a:pt x="4027005" y="4409679"/>
                  <a:pt x="4027005" y="4409679"/>
                  <a:pt x="4027005" y="4372363"/>
                </a:cubicBezTo>
                <a:cubicBezTo>
                  <a:pt x="4027005" y="4185807"/>
                  <a:pt x="3881231" y="4036566"/>
                  <a:pt x="3699013" y="4036566"/>
                </a:cubicBezTo>
                <a:lnTo>
                  <a:pt x="3662570" y="4036566"/>
                </a:lnTo>
                <a:cubicBezTo>
                  <a:pt x="3662570" y="3999250"/>
                  <a:pt x="3699013" y="3999250"/>
                  <a:pt x="3699013" y="3999250"/>
                </a:cubicBezTo>
                <a:cubicBezTo>
                  <a:pt x="3881231" y="3999250"/>
                  <a:pt x="4027005" y="3850010"/>
                  <a:pt x="4027005" y="3663453"/>
                </a:cubicBezTo>
                <a:cubicBezTo>
                  <a:pt x="4027005" y="3663453"/>
                  <a:pt x="4027005" y="3626137"/>
                  <a:pt x="4063449" y="3626137"/>
                </a:cubicBezTo>
                <a:close/>
                <a:moveTo>
                  <a:pt x="4138826" y="974873"/>
                </a:moveTo>
                <a:cubicBezTo>
                  <a:pt x="3989735" y="974873"/>
                  <a:pt x="3840655" y="1012327"/>
                  <a:pt x="3691564" y="1049781"/>
                </a:cubicBezTo>
                <a:cubicBezTo>
                  <a:pt x="3579754" y="1087234"/>
                  <a:pt x="3505203" y="1087234"/>
                  <a:pt x="3393393" y="1124699"/>
                </a:cubicBezTo>
                <a:lnTo>
                  <a:pt x="3466595" y="1193397"/>
                </a:lnTo>
                <a:cubicBezTo>
                  <a:pt x="3506658" y="1230520"/>
                  <a:pt x="3545427" y="1270128"/>
                  <a:pt x="3582738" y="1312220"/>
                </a:cubicBezTo>
                <a:cubicBezTo>
                  <a:pt x="3694674" y="1424466"/>
                  <a:pt x="3806611" y="1611539"/>
                  <a:pt x="3881231" y="1761204"/>
                </a:cubicBezTo>
                <a:cubicBezTo>
                  <a:pt x="3872490" y="1801333"/>
                  <a:pt x="3843915" y="1836031"/>
                  <a:pt x="3806611" y="1873450"/>
                </a:cubicBezTo>
                <a:cubicBezTo>
                  <a:pt x="3470802" y="2210189"/>
                  <a:pt x="3060385" y="2472088"/>
                  <a:pt x="2649956" y="2734000"/>
                </a:cubicBezTo>
                <a:cubicBezTo>
                  <a:pt x="2239538" y="2995911"/>
                  <a:pt x="1791805" y="3220403"/>
                  <a:pt x="1344072" y="3370057"/>
                </a:cubicBezTo>
                <a:cubicBezTo>
                  <a:pt x="1313560" y="3386386"/>
                  <a:pt x="1295293" y="3393189"/>
                  <a:pt x="1232136" y="3407476"/>
                </a:cubicBezTo>
                <a:cubicBezTo>
                  <a:pt x="1064232" y="3220397"/>
                  <a:pt x="942969" y="2995905"/>
                  <a:pt x="882338" y="2752706"/>
                </a:cubicBezTo>
                <a:lnTo>
                  <a:pt x="858908" y="2697843"/>
                </a:lnTo>
                <a:cubicBezTo>
                  <a:pt x="448915" y="3109856"/>
                  <a:pt x="262554" y="3484415"/>
                  <a:pt x="374375" y="3596787"/>
                </a:cubicBezTo>
                <a:cubicBezTo>
                  <a:pt x="448915" y="3746613"/>
                  <a:pt x="821638" y="3746613"/>
                  <a:pt x="1417980" y="3559334"/>
                </a:cubicBezTo>
                <a:cubicBezTo>
                  <a:pt x="1865243" y="3409508"/>
                  <a:pt x="2349776" y="3184775"/>
                  <a:pt x="2759768" y="2922576"/>
                </a:cubicBezTo>
                <a:cubicBezTo>
                  <a:pt x="3207031" y="2660390"/>
                  <a:pt x="3579754" y="2360738"/>
                  <a:pt x="3952465" y="2023632"/>
                </a:cubicBezTo>
                <a:cubicBezTo>
                  <a:pt x="4027017" y="1948725"/>
                  <a:pt x="4101557" y="1873818"/>
                  <a:pt x="4138826" y="1798899"/>
                </a:cubicBezTo>
                <a:cubicBezTo>
                  <a:pt x="4474268" y="1424340"/>
                  <a:pt x="4511549" y="1162153"/>
                  <a:pt x="4474268" y="1087234"/>
                </a:cubicBezTo>
                <a:cubicBezTo>
                  <a:pt x="4436998" y="1049781"/>
                  <a:pt x="4325188" y="974873"/>
                  <a:pt x="4138826" y="974873"/>
                </a:cubicBezTo>
                <a:close/>
                <a:moveTo>
                  <a:pt x="4165395" y="700025"/>
                </a:moveTo>
                <a:cubicBezTo>
                  <a:pt x="4217154" y="699514"/>
                  <a:pt x="4265782" y="702149"/>
                  <a:pt x="4311207" y="708003"/>
                </a:cubicBezTo>
                <a:cubicBezTo>
                  <a:pt x="4492909" y="731407"/>
                  <a:pt x="4623359" y="806315"/>
                  <a:pt x="4697899" y="937420"/>
                </a:cubicBezTo>
                <a:cubicBezTo>
                  <a:pt x="4846991" y="1199606"/>
                  <a:pt x="4735181" y="1536712"/>
                  <a:pt x="4362458" y="1986178"/>
                </a:cubicBezTo>
                <a:cubicBezTo>
                  <a:pt x="4250637" y="2136004"/>
                  <a:pt x="4101557" y="2248377"/>
                  <a:pt x="3989735" y="2360738"/>
                </a:cubicBezTo>
                <a:lnTo>
                  <a:pt x="3989253" y="2361116"/>
                </a:lnTo>
                <a:lnTo>
                  <a:pt x="3943902" y="2721741"/>
                </a:lnTo>
                <a:cubicBezTo>
                  <a:pt x="3915895" y="2839187"/>
                  <a:pt x="3878557" y="2951938"/>
                  <a:pt x="3841218" y="3064677"/>
                </a:cubicBezTo>
                <a:cubicBezTo>
                  <a:pt x="3533164" y="3656601"/>
                  <a:pt x="2931059" y="3973711"/>
                  <a:pt x="2318452" y="3936717"/>
                </a:cubicBezTo>
                <a:lnTo>
                  <a:pt x="1721994" y="3781140"/>
                </a:lnTo>
                <a:lnTo>
                  <a:pt x="1716163" y="3784067"/>
                </a:lnTo>
                <a:cubicBezTo>
                  <a:pt x="1380711" y="3896428"/>
                  <a:pt x="1045269" y="3971347"/>
                  <a:pt x="709817" y="4008800"/>
                </a:cubicBezTo>
                <a:cubicBezTo>
                  <a:pt x="411645" y="4008800"/>
                  <a:pt x="225284" y="3896428"/>
                  <a:pt x="113474" y="3746613"/>
                </a:cubicBezTo>
                <a:cubicBezTo>
                  <a:pt x="-72887" y="3484415"/>
                  <a:pt x="150744" y="2922576"/>
                  <a:pt x="821638" y="2323284"/>
                </a:cubicBezTo>
                <a:lnTo>
                  <a:pt x="896327" y="1985696"/>
                </a:lnTo>
                <a:cubicBezTo>
                  <a:pt x="970959" y="1686366"/>
                  <a:pt x="1120199" y="1387047"/>
                  <a:pt x="1344072" y="1199974"/>
                </a:cubicBezTo>
                <a:cubicBezTo>
                  <a:pt x="1679869" y="900643"/>
                  <a:pt x="2090286" y="760344"/>
                  <a:pt x="2491383" y="779042"/>
                </a:cubicBezTo>
                <a:cubicBezTo>
                  <a:pt x="2691932" y="788397"/>
                  <a:pt x="2890147" y="837507"/>
                  <a:pt x="3075538" y="926370"/>
                </a:cubicBezTo>
                <a:lnTo>
                  <a:pt x="3095617" y="937273"/>
                </a:lnTo>
                <a:lnTo>
                  <a:pt x="3229162" y="887670"/>
                </a:lnTo>
                <a:cubicBezTo>
                  <a:pt x="3358446" y="843774"/>
                  <a:pt x="3477253" y="815684"/>
                  <a:pt x="3617024" y="787593"/>
                </a:cubicBezTo>
                <a:cubicBezTo>
                  <a:pt x="3826672" y="731404"/>
                  <a:pt x="4010119" y="701558"/>
                  <a:pt x="4165395" y="700025"/>
                </a:cubicBezTo>
                <a:close/>
                <a:moveTo>
                  <a:pt x="637239" y="0"/>
                </a:moveTo>
                <a:cubicBezTo>
                  <a:pt x="674728" y="0"/>
                  <a:pt x="712216" y="37488"/>
                  <a:pt x="712216" y="74965"/>
                </a:cubicBezTo>
                <a:cubicBezTo>
                  <a:pt x="712216" y="374846"/>
                  <a:pt x="937121" y="599752"/>
                  <a:pt x="1237002" y="599752"/>
                </a:cubicBezTo>
                <a:cubicBezTo>
                  <a:pt x="1274479" y="599752"/>
                  <a:pt x="1311967" y="637239"/>
                  <a:pt x="1311967" y="674728"/>
                </a:cubicBezTo>
                <a:cubicBezTo>
                  <a:pt x="1311967" y="674728"/>
                  <a:pt x="1274479" y="712216"/>
                  <a:pt x="1237002" y="712216"/>
                </a:cubicBezTo>
                <a:cubicBezTo>
                  <a:pt x="937121" y="712216"/>
                  <a:pt x="712216" y="937121"/>
                  <a:pt x="712216" y="1274479"/>
                </a:cubicBezTo>
                <a:cubicBezTo>
                  <a:pt x="712216" y="1274479"/>
                  <a:pt x="674728" y="1311967"/>
                  <a:pt x="637239" y="1311967"/>
                </a:cubicBezTo>
                <a:lnTo>
                  <a:pt x="599751" y="1274479"/>
                </a:lnTo>
                <a:cubicBezTo>
                  <a:pt x="599751" y="937121"/>
                  <a:pt x="337358" y="712216"/>
                  <a:pt x="37488" y="712216"/>
                </a:cubicBezTo>
                <a:lnTo>
                  <a:pt x="0" y="674728"/>
                </a:lnTo>
                <a:cubicBezTo>
                  <a:pt x="0" y="637239"/>
                  <a:pt x="0" y="599752"/>
                  <a:pt x="37488" y="599752"/>
                </a:cubicBezTo>
                <a:cubicBezTo>
                  <a:pt x="337358" y="599752"/>
                  <a:pt x="599751" y="374846"/>
                  <a:pt x="599751" y="74965"/>
                </a:cubicBezTo>
                <a:cubicBezTo>
                  <a:pt x="599751" y="37488"/>
                  <a:pt x="637239" y="0"/>
                  <a:pt x="6372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5" name="Freeform 5">
            <a:extLst>
              <a:ext uri="{FF2B5EF4-FFF2-40B4-BE49-F238E27FC236}">
                <a16:creationId xmlns:a16="http://schemas.microsoft.com/office/drawing/2014/main" id="{7B8B7240-E125-D949-AD2E-9D91FB4E2D76}"/>
              </a:ext>
            </a:extLst>
          </p:cNvPr>
          <p:cNvSpPr>
            <a:spLocks noEditPoints="1"/>
          </p:cNvSpPr>
          <p:nvPr/>
        </p:nvSpPr>
        <p:spPr bwMode="auto">
          <a:xfrm>
            <a:off x="668603" y="4277931"/>
            <a:ext cx="491513" cy="403522"/>
          </a:xfrm>
          <a:custGeom>
            <a:avLst/>
            <a:gdLst>
              <a:gd name="T0" fmla="*/ 3752 w 5983"/>
              <a:gd name="T1" fmla="*/ 2549 h 4697"/>
              <a:gd name="T2" fmla="*/ 2693 w 5983"/>
              <a:gd name="T3" fmla="*/ 4063 h 4697"/>
              <a:gd name="T4" fmla="*/ 2651 w 5983"/>
              <a:gd name="T5" fmla="*/ 4087 h 4697"/>
              <a:gd name="T6" fmla="*/ 2627 w 5983"/>
              <a:gd name="T7" fmla="*/ 4081 h 4697"/>
              <a:gd name="T8" fmla="*/ 2603 w 5983"/>
              <a:gd name="T9" fmla="*/ 4021 h 4697"/>
              <a:gd name="T10" fmla="*/ 2878 w 5983"/>
              <a:gd name="T11" fmla="*/ 3117 h 4697"/>
              <a:gd name="T12" fmla="*/ 2262 w 5983"/>
              <a:gd name="T13" fmla="*/ 3117 h 4697"/>
              <a:gd name="T14" fmla="*/ 2214 w 5983"/>
              <a:gd name="T15" fmla="*/ 3087 h 4697"/>
              <a:gd name="T16" fmla="*/ 2220 w 5983"/>
              <a:gd name="T17" fmla="*/ 3034 h 4697"/>
              <a:gd name="T18" fmla="*/ 3249 w 5983"/>
              <a:gd name="T19" fmla="*/ 1538 h 4697"/>
              <a:gd name="T20" fmla="*/ 3291 w 5983"/>
              <a:gd name="T21" fmla="*/ 1514 h 4697"/>
              <a:gd name="T22" fmla="*/ 3315 w 5983"/>
              <a:gd name="T23" fmla="*/ 1520 h 4697"/>
              <a:gd name="T24" fmla="*/ 3339 w 5983"/>
              <a:gd name="T25" fmla="*/ 1580 h 4697"/>
              <a:gd name="T26" fmla="*/ 3075 w 5983"/>
              <a:gd name="T27" fmla="*/ 2465 h 4697"/>
              <a:gd name="T28" fmla="*/ 3710 w 5983"/>
              <a:gd name="T29" fmla="*/ 2465 h 4697"/>
              <a:gd name="T30" fmla="*/ 3763 w 5983"/>
              <a:gd name="T31" fmla="*/ 2519 h 4697"/>
              <a:gd name="T32" fmla="*/ 3752 w 5983"/>
              <a:gd name="T33" fmla="*/ 2549 h 4697"/>
              <a:gd name="T34" fmla="*/ 5750 w 5983"/>
              <a:gd name="T35" fmla="*/ 754 h 4697"/>
              <a:gd name="T36" fmla="*/ 0 w 5983"/>
              <a:gd name="T37" fmla="*/ 754 h 4697"/>
              <a:gd name="T38" fmla="*/ 0 w 5983"/>
              <a:gd name="T39" fmla="*/ 4326 h 4697"/>
              <a:gd name="T40" fmla="*/ 371 w 5983"/>
              <a:gd name="T41" fmla="*/ 4697 h 4697"/>
              <a:gd name="T42" fmla="*/ 5612 w 5983"/>
              <a:gd name="T43" fmla="*/ 4697 h 4697"/>
              <a:gd name="T44" fmla="*/ 5983 w 5983"/>
              <a:gd name="T45" fmla="*/ 4326 h 4697"/>
              <a:gd name="T46" fmla="*/ 5983 w 5983"/>
              <a:gd name="T47" fmla="*/ 1095 h 4697"/>
              <a:gd name="T48" fmla="*/ 5750 w 5983"/>
              <a:gd name="T49" fmla="*/ 754 h 4697"/>
              <a:gd name="T50" fmla="*/ 3536 w 5983"/>
              <a:gd name="T51" fmla="*/ 485 h 4697"/>
              <a:gd name="T52" fmla="*/ 3363 w 5983"/>
              <a:gd name="T53" fmla="*/ 186 h 4697"/>
              <a:gd name="T54" fmla="*/ 3040 w 5983"/>
              <a:gd name="T55" fmla="*/ 0 h 4697"/>
              <a:gd name="T56" fmla="*/ 371 w 5983"/>
              <a:gd name="T57" fmla="*/ 0 h 4697"/>
              <a:gd name="T58" fmla="*/ 0 w 5983"/>
              <a:gd name="T59" fmla="*/ 371 h 4697"/>
              <a:gd name="T60" fmla="*/ 0 w 5983"/>
              <a:gd name="T61" fmla="*/ 563 h 4697"/>
              <a:gd name="T62" fmla="*/ 3602 w 5983"/>
              <a:gd name="T63" fmla="*/ 563 h 4697"/>
              <a:gd name="T64" fmla="*/ 3536 w 5983"/>
              <a:gd name="T65" fmla="*/ 485 h 4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3" h="4697">
                <a:moveTo>
                  <a:pt x="3752" y="2549"/>
                </a:moveTo>
                <a:lnTo>
                  <a:pt x="2693" y="4063"/>
                </a:lnTo>
                <a:cubicBezTo>
                  <a:pt x="2681" y="4075"/>
                  <a:pt x="2669" y="4087"/>
                  <a:pt x="2651" y="4087"/>
                </a:cubicBezTo>
                <a:cubicBezTo>
                  <a:pt x="2645" y="4087"/>
                  <a:pt x="2633" y="4087"/>
                  <a:pt x="2627" y="4081"/>
                </a:cubicBezTo>
                <a:cubicBezTo>
                  <a:pt x="2603" y="4069"/>
                  <a:pt x="2591" y="4045"/>
                  <a:pt x="2603" y="4021"/>
                </a:cubicBezTo>
                <a:lnTo>
                  <a:pt x="2878" y="3117"/>
                </a:lnTo>
                <a:lnTo>
                  <a:pt x="2262" y="3117"/>
                </a:lnTo>
                <a:cubicBezTo>
                  <a:pt x="2244" y="3117"/>
                  <a:pt x="2226" y="3105"/>
                  <a:pt x="2214" y="3087"/>
                </a:cubicBezTo>
                <a:cubicBezTo>
                  <a:pt x="2208" y="3070"/>
                  <a:pt x="2208" y="3052"/>
                  <a:pt x="2220" y="3034"/>
                </a:cubicBezTo>
                <a:lnTo>
                  <a:pt x="3249" y="1538"/>
                </a:lnTo>
                <a:cubicBezTo>
                  <a:pt x="3261" y="1526"/>
                  <a:pt x="3273" y="1514"/>
                  <a:pt x="3291" y="1514"/>
                </a:cubicBezTo>
                <a:cubicBezTo>
                  <a:pt x="3297" y="1514"/>
                  <a:pt x="3303" y="1514"/>
                  <a:pt x="3315" y="1520"/>
                </a:cubicBezTo>
                <a:cubicBezTo>
                  <a:pt x="3339" y="1532"/>
                  <a:pt x="3351" y="1556"/>
                  <a:pt x="3339" y="1580"/>
                </a:cubicBezTo>
                <a:lnTo>
                  <a:pt x="3075" y="2465"/>
                </a:lnTo>
                <a:lnTo>
                  <a:pt x="3710" y="2465"/>
                </a:lnTo>
                <a:cubicBezTo>
                  <a:pt x="3740" y="2465"/>
                  <a:pt x="3763" y="2489"/>
                  <a:pt x="3763" y="2519"/>
                </a:cubicBezTo>
                <a:cubicBezTo>
                  <a:pt x="3763" y="2531"/>
                  <a:pt x="3758" y="2537"/>
                  <a:pt x="3752" y="2549"/>
                </a:cubicBezTo>
                <a:close/>
                <a:moveTo>
                  <a:pt x="5750" y="754"/>
                </a:moveTo>
                <a:lnTo>
                  <a:pt x="0" y="754"/>
                </a:lnTo>
                <a:lnTo>
                  <a:pt x="0" y="4326"/>
                </a:lnTo>
                <a:cubicBezTo>
                  <a:pt x="0" y="4529"/>
                  <a:pt x="168" y="4697"/>
                  <a:pt x="371" y="4697"/>
                </a:cubicBezTo>
                <a:lnTo>
                  <a:pt x="5612" y="4697"/>
                </a:lnTo>
                <a:cubicBezTo>
                  <a:pt x="5816" y="4697"/>
                  <a:pt x="5983" y="4529"/>
                  <a:pt x="5983" y="4326"/>
                </a:cubicBezTo>
                <a:lnTo>
                  <a:pt x="5983" y="1095"/>
                </a:lnTo>
                <a:cubicBezTo>
                  <a:pt x="5983" y="946"/>
                  <a:pt x="5887" y="814"/>
                  <a:pt x="5750" y="754"/>
                </a:cubicBezTo>
                <a:close/>
                <a:moveTo>
                  <a:pt x="3536" y="485"/>
                </a:moveTo>
                <a:lnTo>
                  <a:pt x="3363" y="186"/>
                </a:lnTo>
                <a:cubicBezTo>
                  <a:pt x="3297" y="72"/>
                  <a:pt x="3171" y="0"/>
                  <a:pt x="3040" y="0"/>
                </a:cubicBezTo>
                <a:lnTo>
                  <a:pt x="371" y="0"/>
                </a:lnTo>
                <a:cubicBezTo>
                  <a:pt x="168" y="0"/>
                  <a:pt x="0" y="168"/>
                  <a:pt x="0" y="371"/>
                </a:cubicBezTo>
                <a:lnTo>
                  <a:pt x="0" y="563"/>
                </a:lnTo>
                <a:lnTo>
                  <a:pt x="3602" y="563"/>
                </a:lnTo>
                <a:cubicBezTo>
                  <a:pt x="3572" y="545"/>
                  <a:pt x="3554" y="515"/>
                  <a:pt x="3536" y="48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702" tIns="37351" rIns="74702" bIns="3735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96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6" name="Freeform 182">
            <a:extLst>
              <a:ext uri="{FF2B5EF4-FFF2-40B4-BE49-F238E27FC236}">
                <a16:creationId xmlns:a16="http://schemas.microsoft.com/office/drawing/2014/main" id="{C2E1DF8E-1A80-C24F-B10C-CD378A01DE05}"/>
              </a:ext>
            </a:extLst>
          </p:cNvPr>
          <p:cNvSpPr/>
          <p:nvPr/>
        </p:nvSpPr>
        <p:spPr bwMode="auto">
          <a:xfrm flipH="1">
            <a:off x="655956" y="2297714"/>
            <a:ext cx="561087" cy="516740"/>
          </a:xfrm>
          <a:custGeom>
            <a:avLst/>
            <a:gdLst>
              <a:gd name="connsiteX0" fmla="*/ 144517 w 665158"/>
              <a:gd name="connsiteY0" fmla="*/ 432643 h 635971"/>
              <a:gd name="connsiteX1" fmla="*/ 134794 w 665158"/>
              <a:gd name="connsiteY1" fmla="*/ 438281 h 635971"/>
              <a:gd name="connsiteX2" fmla="*/ 131240 w 665158"/>
              <a:gd name="connsiteY2" fmla="*/ 453701 h 635971"/>
              <a:gd name="connsiteX3" fmla="*/ 135004 w 665158"/>
              <a:gd name="connsiteY3" fmla="*/ 468403 h 635971"/>
              <a:gd name="connsiteX4" fmla="*/ 144883 w 665158"/>
              <a:gd name="connsiteY4" fmla="*/ 473874 h 635971"/>
              <a:gd name="connsiteX5" fmla="*/ 155050 w 665158"/>
              <a:gd name="connsiteY5" fmla="*/ 468458 h 635971"/>
              <a:gd name="connsiteX6" fmla="*/ 158788 w 665158"/>
              <a:gd name="connsiteY6" fmla="*/ 453369 h 635971"/>
              <a:gd name="connsiteX7" fmla="*/ 155024 w 665158"/>
              <a:gd name="connsiteY7" fmla="*/ 438059 h 635971"/>
              <a:gd name="connsiteX8" fmla="*/ 144517 w 665158"/>
              <a:gd name="connsiteY8" fmla="*/ 432643 h 635971"/>
              <a:gd name="connsiteX9" fmla="*/ 96733 w 665158"/>
              <a:gd name="connsiteY9" fmla="*/ 413631 h 635971"/>
              <a:gd name="connsiteX10" fmla="*/ 96733 w 665158"/>
              <a:gd name="connsiteY10" fmla="*/ 492888 h 635971"/>
              <a:gd name="connsiteX11" fmla="*/ 48328 w 665158"/>
              <a:gd name="connsiteY11" fmla="*/ 492888 h 635971"/>
              <a:gd name="connsiteX12" fmla="*/ 48328 w 665158"/>
              <a:gd name="connsiteY12" fmla="*/ 474206 h 635971"/>
              <a:gd name="connsiteX13" fmla="*/ 74151 w 665158"/>
              <a:gd name="connsiteY13" fmla="*/ 474206 h 635971"/>
              <a:gd name="connsiteX14" fmla="*/ 74151 w 665158"/>
              <a:gd name="connsiteY14" fmla="*/ 413631 h 635971"/>
              <a:gd name="connsiteX15" fmla="*/ 144308 w 665158"/>
              <a:gd name="connsiteY15" fmla="*/ 412304 h 635971"/>
              <a:gd name="connsiteX16" fmla="*/ 164277 w 665158"/>
              <a:gd name="connsiteY16" fmla="*/ 417582 h 635971"/>
              <a:gd name="connsiteX17" fmla="*/ 177920 w 665158"/>
              <a:gd name="connsiteY17" fmla="*/ 432533 h 635971"/>
              <a:gd name="connsiteX18" fmla="*/ 182782 w 665158"/>
              <a:gd name="connsiteY18" fmla="*/ 454309 h 635971"/>
              <a:gd name="connsiteX19" fmla="*/ 177972 w 665158"/>
              <a:gd name="connsiteY19" fmla="*/ 475007 h 635971"/>
              <a:gd name="connsiteX20" fmla="*/ 164512 w 665158"/>
              <a:gd name="connsiteY20" fmla="*/ 489212 h 635971"/>
              <a:gd name="connsiteX21" fmla="*/ 145301 w 665158"/>
              <a:gd name="connsiteY21" fmla="*/ 494269 h 635971"/>
              <a:gd name="connsiteX22" fmla="*/ 136572 w 665158"/>
              <a:gd name="connsiteY22" fmla="*/ 493329 h 635971"/>
              <a:gd name="connsiteX23" fmla="*/ 127058 w 665158"/>
              <a:gd name="connsiteY23" fmla="*/ 503554 h 635971"/>
              <a:gd name="connsiteX24" fmla="*/ 98726 w 665158"/>
              <a:gd name="connsiteY24" fmla="*/ 503554 h 635971"/>
              <a:gd name="connsiteX25" fmla="*/ 118537 w 665158"/>
              <a:gd name="connsiteY25" fmla="*/ 483325 h 635971"/>
              <a:gd name="connsiteX26" fmla="*/ 107298 w 665158"/>
              <a:gd name="connsiteY26" fmla="*/ 453038 h 635971"/>
              <a:gd name="connsiteX27" fmla="*/ 111924 w 665158"/>
              <a:gd name="connsiteY27" fmla="*/ 431786 h 635971"/>
              <a:gd name="connsiteX28" fmla="*/ 125045 w 665158"/>
              <a:gd name="connsiteY28" fmla="*/ 417362 h 635971"/>
              <a:gd name="connsiteX29" fmla="*/ 144308 w 665158"/>
              <a:gd name="connsiteY29" fmla="*/ 412304 h 635971"/>
              <a:gd name="connsiteX30" fmla="*/ 214235 w 665158"/>
              <a:gd name="connsiteY30" fmla="*/ 412304 h 635971"/>
              <a:gd name="connsiteX31" fmla="*/ 236399 w 665158"/>
              <a:gd name="connsiteY31" fmla="*/ 419185 h 635971"/>
              <a:gd name="connsiteX32" fmla="*/ 244658 w 665158"/>
              <a:gd name="connsiteY32" fmla="*/ 437562 h 635971"/>
              <a:gd name="connsiteX33" fmla="*/ 226571 w 665158"/>
              <a:gd name="connsiteY33" fmla="*/ 461329 h 635971"/>
              <a:gd name="connsiteX34" fmla="*/ 218913 w 665158"/>
              <a:gd name="connsiteY34" fmla="*/ 464811 h 635971"/>
              <a:gd name="connsiteX35" fmla="*/ 215829 w 665158"/>
              <a:gd name="connsiteY35" fmla="*/ 467546 h 635971"/>
              <a:gd name="connsiteX36" fmla="*/ 214810 w 665158"/>
              <a:gd name="connsiteY36" fmla="*/ 470945 h 635971"/>
              <a:gd name="connsiteX37" fmla="*/ 216848 w 665158"/>
              <a:gd name="connsiteY37" fmla="*/ 475063 h 635971"/>
              <a:gd name="connsiteX38" fmla="*/ 222598 w 665158"/>
              <a:gd name="connsiteY38" fmla="*/ 476472 h 635971"/>
              <a:gd name="connsiteX39" fmla="*/ 233210 w 665158"/>
              <a:gd name="connsiteY39" fmla="*/ 474234 h 635971"/>
              <a:gd name="connsiteX40" fmla="*/ 243612 w 665158"/>
              <a:gd name="connsiteY40" fmla="*/ 468348 h 635971"/>
              <a:gd name="connsiteX41" fmla="*/ 243612 w 665158"/>
              <a:gd name="connsiteY41" fmla="*/ 490068 h 635971"/>
              <a:gd name="connsiteX42" fmla="*/ 222076 w 665158"/>
              <a:gd name="connsiteY42" fmla="*/ 494269 h 635971"/>
              <a:gd name="connsiteX43" fmla="*/ 204721 w 665158"/>
              <a:gd name="connsiteY43" fmla="*/ 491395 h 635971"/>
              <a:gd name="connsiteX44" fmla="*/ 193509 w 665158"/>
              <a:gd name="connsiteY44" fmla="*/ 482663 h 635971"/>
              <a:gd name="connsiteX45" fmla="*/ 189509 w 665158"/>
              <a:gd name="connsiteY45" fmla="*/ 468901 h 635971"/>
              <a:gd name="connsiteX46" fmla="*/ 194345 w 665158"/>
              <a:gd name="connsiteY46" fmla="*/ 454862 h 635971"/>
              <a:gd name="connsiteX47" fmla="*/ 210837 w 665158"/>
              <a:gd name="connsiteY47" fmla="*/ 443973 h 635971"/>
              <a:gd name="connsiteX48" fmla="*/ 218600 w 665158"/>
              <a:gd name="connsiteY48" fmla="*/ 439746 h 635971"/>
              <a:gd name="connsiteX49" fmla="*/ 220456 w 665158"/>
              <a:gd name="connsiteY49" fmla="*/ 435628 h 635971"/>
              <a:gd name="connsiteX50" fmla="*/ 218155 w 665158"/>
              <a:gd name="connsiteY50" fmla="*/ 431538 h 635971"/>
              <a:gd name="connsiteX51" fmla="*/ 212091 w 665158"/>
              <a:gd name="connsiteY51" fmla="*/ 430046 h 635971"/>
              <a:gd name="connsiteX52" fmla="*/ 193482 w 665158"/>
              <a:gd name="connsiteY52" fmla="*/ 435517 h 635971"/>
              <a:gd name="connsiteX53" fmla="*/ 193482 w 665158"/>
              <a:gd name="connsiteY53" fmla="*/ 415344 h 635971"/>
              <a:gd name="connsiteX54" fmla="*/ 201036 w 665158"/>
              <a:gd name="connsiteY54" fmla="*/ 413464 h 635971"/>
              <a:gd name="connsiteX55" fmla="*/ 207021 w 665158"/>
              <a:gd name="connsiteY55" fmla="*/ 412635 h 635971"/>
              <a:gd name="connsiteX56" fmla="*/ 214235 w 665158"/>
              <a:gd name="connsiteY56" fmla="*/ 412304 h 635971"/>
              <a:gd name="connsiteX57" fmla="*/ 420744 w 665158"/>
              <a:gd name="connsiteY57" fmla="*/ 354477 h 635971"/>
              <a:gd name="connsiteX58" fmla="*/ 372634 w 665158"/>
              <a:gd name="connsiteY58" fmla="*/ 354477 h 635971"/>
              <a:gd name="connsiteX59" fmla="*/ 372634 w 665158"/>
              <a:gd name="connsiteY59" fmla="*/ 402262 h 635971"/>
              <a:gd name="connsiteX60" fmla="*/ 420744 w 665158"/>
              <a:gd name="connsiteY60" fmla="*/ 402262 h 635971"/>
              <a:gd name="connsiteX61" fmla="*/ 496460 w 665158"/>
              <a:gd name="connsiteY61" fmla="*/ 354477 h 635971"/>
              <a:gd name="connsiteX62" fmla="*/ 448350 w 665158"/>
              <a:gd name="connsiteY62" fmla="*/ 354477 h 635971"/>
              <a:gd name="connsiteX63" fmla="*/ 448350 w 665158"/>
              <a:gd name="connsiteY63" fmla="*/ 402262 h 635971"/>
              <a:gd name="connsiteX64" fmla="*/ 496460 w 665158"/>
              <a:gd name="connsiteY64" fmla="*/ 402262 h 635971"/>
              <a:gd name="connsiteX65" fmla="*/ 572175 w 665158"/>
              <a:gd name="connsiteY65" fmla="*/ 354477 h 635971"/>
              <a:gd name="connsiteX66" fmla="*/ 524065 w 665158"/>
              <a:gd name="connsiteY66" fmla="*/ 354477 h 635971"/>
              <a:gd name="connsiteX67" fmla="*/ 524065 w 665158"/>
              <a:gd name="connsiteY67" fmla="*/ 402262 h 635971"/>
              <a:gd name="connsiteX68" fmla="*/ 572175 w 665158"/>
              <a:gd name="connsiteY68" fmla="*/ 402262 h 635971"/>
              <a:gd name="connsiteX69" fmla="*/ 496460 w 665158"/>
              <a:gd name="connsiteY69" fmla="*/ 287115 h 635971"/>
              <a:gd name="connsiteX70" fmla="*/ 448350 w 665158"/>
              <a:gd name="connsiteY70" fmla="*/ 287115 h 635971"/>
              <a:gd name="connsiteX71" fmla="*/ 448350 w 665158"/>
              <a:gd name="connsiteY71" fmla="*/ 334900 h 635971"/>
              <a:gd name="connsiteX72" fmla="*/ 496460 w 665158"/>
              <a:gd name="connsiteY72" fmla="*/ 334900 h 635971"/>
              <a:gd name="connsiteX73" fmla="*/ 572175 w 665158"/>
              <a:gd name="connsiteY73" fmla="*/ 287115 h 635971"/>
              <a:gd name="connsiteX74" fmla="*/ 524065 w 665158"/>
              <a:gd name="connsiteY74" fmla="*/ 287115 h 635971"/>
              <a:gd name="connsiteX75" fmla="*/ 524065 w 665158"/>
              <a:gd name="connsiteY75" fmla="*/ 334900 h 635971"/>
              <a:gd name="connsiteX76" fmla="*/ 572175 w 665158"/>
              <a:gd name="connsiteY76" fmla="*/ 334900 h 635971"/>
              <a:gd name="connsiteX77" fmla="*/ 146493 w 665158"/>
              <a:gd name="connsiteY77" fmla="*/ 261457 h 635971"/>
              <a:gd name="connsiteX78" fmla="*/ 247609 w 665158"/>
              <a:gd name="connsiteY78" fmla="*/ 292835 h 635971"/>
              <a:gd name="connsiteX79" fmla="*/ 146493 w 665158"/>
              <a:gd name="connsiteY79" fmla="*/ 324213 h 635971"/>
              <a:gd name="connsiteX80" fmla="*/ 45377 w 665158"/>
              <a:gd name="connsiteY80" fmla="*/ 292835 h 635971"/>
              <a:gd name="connsiteX81" fmla="*/ 146493 w 665158"/>
              <a:gd name="connsiteY81" fmla="*/ 261457 h 635971"/>
              <a:gd name="connsiteX82" fmla="*/ 146493 w 665158"/>
              <a:gd name="connsiteY82" fmla="*/ 238664 h 635971"/>
              <a:gd name="connsiteX83" fmla="*/ 756 w 665158"/>
              <a:gd name="connsiteY83" fmla="*/ 295386 h 635971"/>
              <a:gd name="connsiteX84" fmla="*/ 224 w 665158"/>
              <a:gd name="connsiteY84" fmla="*/ 299934 h 635971"/>
              <a:gd name="connsiteX85" fmla="*/ 0 w 665158"/>
              <a:gd name="connsiteY85" fmla="*/ 299934 h 635971"/>
              <a:gd name="connsiteX86" fmla="*/ 0 w 665158"/>
              <a:gd name="connsiteY86" fmla="*/ 301846 h 635971"/>
              <a:gd name="connsiteX87" fmla="*/ 0 w 665158"/>
              <a:gd name="connsiteY87" fmla="*/ 572789 h 635971"/>
              <a:gd name="connsiteX88" fmla="*/ 0 w 665158"/>
              <a:gd name="connsiteY88" fmla="*/ 572790 h 635971"/>
              <a:gd name="connsiteX89" fmla="*/ 0 w 665158"/>
              <a:gd name="connsiteY89" fmla="*/ 572791 h 635971"/>
              <a:gd name="connsiteX90" fmla="*/ 0 w 665158"/>
              <a:gd name="connsiteY90" fmla="*/ 574701 h 635971"/>
              <a:gd name="connsiteX91" fmla="*/ 224 w 665158"/>
              <a:gd name="connsiteY91" fmla="*/ 574701 h 635971"/>
              <a:gd name="connsiteX92" fmla="*/ 756 w 665158"/>
              <a:gd name="connsiteY92" fmla="*/ 579250 h 635971"/>
              <a:gd name="connsiteX93" fmla="*/ 146493 w 665158"/>
              <a:gd name="connsiteY93" fmla="*/ 635971 h 635971"/>
              <a:gd name="connsiteX94" fmla="*/ 292229 w 665158"/>
              <a:gd name="connsiteY94" fmla="*/ 579250 h 635971"/>
              <a:gd name="connsiteX95" fmla="*/ 292762 w 665158"/>
              <a:gd name="connsiteY95" fmla="*/ 574701 h 635971"/>
              <a:gd name="connsiteX96" fmla="*/ 292986 w 665158"/>
              <a:gd name="connsiteY96" fmla="*/ 574701 h 635971"/>
              <a:gd name="connsiteX97" fmla="*/ 292986 w 665158"/>
              <a:gd name="connsiteY97" fmla="*/ 572790 h 635971"/>
              <a:gd name="connsiteX98" fmla="*/ 292986 w 665158"/>
              <a:gd name="connsiteY98" fmla="*/ 301846 h 635971"/>
              <a:gd name="connsiteX99" fmla="*/ 292986 w 665158"/>
              <a:gd name="connsiteY99" fmla="*/ 301846 h 635971"/>
              <a:gd name="connsiteX100" fmla="*/ 292986 w 665158"/>
              <a:gd name="connsiteY100" fmla="*/ 301845 h 635971"/>
              <a:gd name="connsiteX101" fmla="*/ 292229 w 665158"/>
              <a:gd name="connsiteY101" fmla="*/ 295386 h 635971"/>
              <a:gd name="connsiteX102" fmla="*/ 146493 w 665158"/>
              <a:gd name="connsiteY102" fmla="*/ 238664 h 635971"/>
              <a:gd name="connsiteX103" fmla="*/ 534317 w 665158"/>
              <a:gd name="connsiteY103" fmla="*/ 219753 h 635971"/>
              <a:gd name="connsiteX104" fmla="*/ 486207 w 665158"/>
              <a:gd name="connsiteY104" fmla="*/ 219753 h 635971"/>
              <a:gd name="connsiteX105" fmla="*/ 486207 w 665158"/>
              <a:gd name="connsiteY105" fmla="*/ 267538 h 635971"/>
              <a:gd name="connsiteX106" fmla="*/ 534317 w 665158"/>
              <a:gd name="connsiteY106" fmla="*/ 267538 h 635971"/>
              <a:gd name="connsiteX107" fmla="*/ 449628 w 665158"/>
              <a:gd name="connsiteY107" fmla="*/ 0 h 635971"/>
              <a:gd name="connsiteX108" fmla="*/ 230694 w 665158"/>
              <a:gd name="connsiteY108" fmla="*/ 119160 h 635971"/>
              <a:gd name="connsiteX109" fmla="*/ 230694 w 665158"/>
              <a:gd name="connsiteY109" fmla="*/ 162466 h 635971"/>
              <a:gd name="connsiteX110" fmla="*/ 272097 w 665158"/>
              <a:gd name="connsiteY110" fmla="*/ 162466 h 635971"/>
              <a:gd name="connsiteX111" fmla="*/ 272097 w 665158"/>
              <a:gd name="connsiteY111" fmla="*/ 251850 h 635971"/>
              <a:gd name="connsiteX112" fmla="*/ 309810 w 665158"/>
              <a:gd name="connsiteY112" fmla="*/ 251850 h 635971"/>
              <a:gd name="connsiteX113" fmla="*/ 309810 w 665158"/>
              <a:gd name="connsiteY113" fmla="*/ 162466 h 635971"/>
              <a:gd name="connsiteX114" fmla="*/ 592776 w 665158"/>
              <a:gd name="connsiteY114" fmla="*/ 162466 h 635971"/>
              <a:gd name="connsiteX115" fmla="*/ 592776 w 665158"/>
              <a:gd name="connsiteY115" fmla="*/ 403380 h 635971"/>
              <a:gd name="connsiteX116" fmla="*/ 639160 w 665158"/>
              <a:gd name="connsiteY116" fmla="*/ 403380 h 635971"/>
              <a:gd name="connsiteX117" fmla="*/ 639160 w 665158"/>
              <a:gd name="connsiteY117" fmla="*/ 162466 h 635971"/>
              <a:gd name="connsiteX118" fmla="*/ 665158 w 665158"/>
              <a:gd name="connsiteY118" fmla="*/ 162466 h 635971"/>
              <a:gd name="connsiteX119" fmla="*/ 665158 w 665158"/>
              <a:gd name="connsiteY119" fmla="*/ 119160 h 635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665158" h="635971">
                <a:moveTo>
                  <a:pt x="144517" y="432643"/>
                </a:moveTo>
                <a:cubicBezTo>
                  <a:pt x="140405" y="432643"/>
                  <a:pt x="137164" y="434522"/>
                  <a:pt x="134794" y="438281"/>
                </a:cubicBezTo>
                <a:cubicBezTo>
                  <a:pt x="132425" y="442039"/>
                  <a:pt x="131240" y="447179"/>
                  <a:pt x="131240" y="453701"/>
                </a:cubicBezTo>
                <a:cubicBezTo>
                  <a:pt x="131240" y="459854"/>
                  <a:pt x="132494" y="464755"/>
                  <a:pt x="135004" y="468403"/>
                </a:cubicBezTo>
                <a:cubicBezTo>
                  <a:pt x="137513" y="472050"/>
                  <a:pt x="140806" y="473874"/>
                  <a:pt x="144883" y="473874"/>
                </a:cubicBezTo>
                <a:cubicBezTo>
                  <a:pt x="149169" y="473874"/>
                  <a:pt x="152558" y="472069"/>
                  <a:pt x="155050" y="468458"/>
                </a:cubicBezTo>
                <a:cubicBezTo>
                  <a:pt x="157542" y="464847"/>
                  <a:pt x="158788" y="459818"/>
                  <a:pt x="158788" y="453369"/>
                </a:cubicBezTo>
                <a:cubicBezTo>
                  <a:pt x="158788" y="446774"/>
                  <a:pt x="157534" y="441671"/>
                  <a:pt x="155024" y="438059"/>
                </a:cubicBezTo>
                <a:cubicBezTo>
                  <a:pt x="152515" y="434449"/>
                  <a:pt x="149013" y="432643"/>
                  <a:pt x="144517" y="432643"/>
                </a:cubicBezTo>
                <a:close/>
                <a:moveTo>
                  <a:pt x="96733" y="413631"/>
                </a:moveTo>
                <a:lnTo>
                  <a:pt x="96733" y="492888"/>
                </a:lnTo>
                <a:lnTo>
                  <a:pt x="48328" y="492888"/>
                </a:lnTo>
                <a:lnTo>
                  <a:pt x="48328" y="474206"/>
                </a:lnTo>
                <a:lnTo>
                  <a:pt x="74151" y="474206"/>
                </a:lnTo>
                <a:lnTo>
                  <a:pt x="74151" y="413631"/>
                </a:lnTo>
                <a:close/>
                <a:moveTo>
                  <a:pt x="144308" y="412304"/>
                </a:moveTo>
                <a:cubicBezTo>
                  <a:pt x="151766" y="412304"/>
                  <a:pt x="158422" y="414063"/>
                  <a:pt x="164277" y="417582"/>
                </a:cubicBezTo>
                <a:cubicBezTo>
                  <a:pt x="170131" y="421101"/>
                  <a:pt x="174679" y="426085"/>
                  <a:pt x="177920" y="432533"/>
                </a:cubicBezTo>
                <a:cubicBezTo>
                  <a:pt x="181161" y="438981"/>
                  <a:pt x="182782" y="446240"/>
                  <a:pt x="182782" y="454309"/>
                </a:cubicBezTo>
                <a:cubicBezTo>
                  <a:pt x="182782" y="462010"/>
                  <a:pt x="181178" y="468910"/>
                  <a:pt x="177972" y="475007"/>
                </a:cubicBezTo>
                <a:cubicBezTo>
                  <a:pt x="174766" y="481106"/>
                  <a:pt x="170279" y="485841"/>
                  <a:pt x="164512" y="489212"/>
                </a:cubicBezTo>
                <a:cubicBezTo>
                  <a:pt x="158744" y="492583"/>
                  <a:pt x="152341" y="494269"/>
                  <a:pt x="145301" y="494269"/>
                </a:cubicBezTo>
                <a:cubicBezTo>
                  <a:pt x="142270" y="494269"/>
                  <a:pt x="139359" y="493956"/>
                  <a:pt x="136572" y="493329"/>
                </a:cubicBezTo>
                <a:lnTo>
                  <a:pt x="127058" y="503554"/>
                </a:lnTo>
                <a:lnTo>
                  <a:pt x="98726" y="503554"/>
                </a:lnTo>
                <a:lnTo>
                  <a:pt x="118537" y="483325"/>
                </a:lnTo>
                <a:cubicBezTo>
                  <a:pt x="111044" y="475404"/>
                  <a:pt x="107298" y="465308"/>
                  <a:pt x="107298" y="453038"/>
                </a:cubicBezTo>
                <a:cubicBezTo>
                  <a:pt x="107298" y="445116"/>
                  <a:pt x="108841" y="438032"/>
                  <a:pt x="111924" y="431786"/>
                </a:cubicBezTo>
                <a:cubicBezTo>
                  <a:pt x="115008" y="425541"/>
                  <a:pt x="119382" y="420732"/>
                  <a:pt x="125045" y="417362"/>
                </a:cubicBezTo>
                <a:cubicBezTo>
                  <a:pt x="130708" y="413990"/>
                  <a:pt x="137129" y="412304"/>
                  <a:pt x="144308" y="412304"/>
                </a:cubicBezTo>
                <a:close/>
                <a:moveTo>
                  <a:pt x="214235" y="412304"/>
                </a:moveTo>
                <a:cubicBezTo>
                  <a:pt x="223505" y="412304"/>
                  <a:pt x="230892" y="414598"/>
                  <a:pt x="236399" y="419185"/>
                </a:cubicBezTo>
                <a:cubicBezTo>
                  <a:pt x="241905" y="423772"/>
                  <a:pt x="244658" y="429898"/>
                  <a:pt x="244658" y="437562"/>
                </a:cubicBezTo>
                <a:cubicBezTo>
                  <a:pt x="244658" y="448506"/>
                  <a:pt x="238629" y="456428"/>
                  <a:pt x="226571" y="461329"/>
                </a:cubicBezTo>
                <a:cubicBezTo>
                  <a:pt x="222842" y="462802"/>
                  <a:pt x="220290" y="463963"/>
                  <a:pt x="218913" y="464811"/>
                </a:cubicBezTo>
                <a:cubicBezTo>
                  <a:pt x="217537" y="465658"/>
                  <a:pt x="216509" y="466570"/>
                  <a:pt x="215829" y="467546"/>
                </a:cubicBezTo>
                <a:cubicBezTo>
                  <a:pt x="215149" y="468522"/>
                  <a:pt x="214810" y="469656"/>
                  <a:pt x="214810" y="470945"/>
                </a:cubicBezTo>
                <a:cubicBezTo>
                  <a:pt x="214810" y="472751"/>
                  <a:pt x="215489" y="474123"/>
                  <a:pt x="216848" y="475063"/>
                </a:cubicBezTo>
                <a:cubicBezTo>
                  <a:pt x="218208" y="476002"/>
                  <a:pt x="220124" y="476472"/>
                  <a:pt x="222598" y="476472"/>
                </a:cubicBezTo>
                <a:cubicBezTo>
                  <a:pt x="225874" y="476472"/>
                  <a:pt x="229411" y="475726"/>
                  <a:pt x="233210" y="474234"/>
                </a:cubicBezTo>
                <a:cubicBezTo>
                  <a:pt x="237009" y="472742"/>
                  <a:pt x="240476" y="470780"/>
                  <a:pt x="243612" y="468348"/>
                </a:cubicBezTo>
                <a:lnTo>
                  <a:pt x="243612" y="490068"/>
                </a:lnTo>
                <a:cubicBezTo>
                  <a:pt x="237096" y="492869"/>
                  <a:pt x="229917" y="494269"/>
                  <a:pt x="222076" y="494269"/>
                </a:cubicBezTo>
                <a:cubicBezTo>
                  <a:pt x="215315" y="494269"/>
                  <a:pt x="209530" y="493311"/>
                  <a:pt x="204721" y="491395"/>
                </a:cubicBezTo>
                <a:cubicBezTo>
                  <a:pt x="199912" y="489479"/>
                  <a:pt x="196174" y="486568"/>
                  <a:pt x="193509" y="482663"/>
                </a:cubicBezTo>
                <a:cubicBezTo>
                  <a:pt x="190842" y="478756"/>
                  <a:pt x="189509" y="474169"/>
                  <a:pt x="189509" y="468901"/>
                </a:cubicBezTo>
                <a:cubicBezTo>
                  <a:pt x="189509" y="463484"/>
                  <a:pt x="191121" y="458804"/>
                  <a:pt x="194345" y="454862"/>
                </a:cubicBezTo>
                <a:cubicBezTo>
                  <a:pt x="197568" y="450919"/>
                  <a:pt x="203065" y="447290"/>
                  <a:pt x="210837" y="443973"/>
                </a:cubicBezTo>
                <a:cubicBezTo>
                  <a:pt x="214775" y="442242"/>
                  <a:pt x="217363" y="440833"/>
                  <a:pt x="218600" y="439746"/>
                </a:cubicBezTo>
                <a:cubicBezTo>
                  <a:pt x="219837" y="438659"/>
                  <a:pt x="220456" y="437286"/>
                  <a:pt x="220456" y="435628"/>
                </a:cubicBezTo>
                <a:cubicBezTo>
                  <a:pt x="220456" y="433896"/>
                  <a:pt x="219689" y="432533"/>
                  <a:pt x="218155" y="431538"/>
                </a:cubicBezTo>
                <a:cubicBezTo>
                  <a:pt x="216622" y="430543"/>
                  <a:pt x="214601" y="430046"/>
                  <a:pt x="212091" y="430046"/>
                </a:cubicBezTo>
                <a:cubicBezTo>
                  <a:pt x="205993" y="430046"/>
                  <a:pt x="199790" y="431870"/>
                  <a:pt x="193482" y="435517"/>
                </a:cubicBezTo>
                <a:lnTo>
                  <a:pt x="193482" y="415344"/>
                </a:lnTo>
                <a:cubicBezTo>
                  <a:pt x="196723" y="414423"/>
                  <a:pt x="199241" y="413796"/>
                  <a:pt x="201036" y="413464"/>
                </a:cubicBezTo>
                <a:cubicBezTo>
                  <a:pt x="202830" y="413133"/>
                  <a:pt x="204825" y="412857"/>
                  <a:pt x="207021" y="412635"/>
                </a:cubicBezTo>
                <a:cubicBezTo>
                  <a:pt x="209217" y="412414"/>
                  <a:pt x="211621" y="412304"/>
                  <a:pt x="214235" y="412304"/>
                </a:cubicBezTo>
                <a:close/>
                <a:moveTo>
                  <a:pt x="420744" y="354477"/>
                </a:moveTo>
                <a:lnTo>
                  <a:pt x="372634" y="354477"/>
                </a:lnTo>
                <a:lnTo>
                  <a:pt x="372634" y="402262"/>
                </a:lnTo>
                <a:lnTo>
                  <a:pt x="420744" y="402262"/>
                </a:lnTo>
                <a:close/>
                <a:moveTo>
                  <a:pt x="496460" y="354477"/>
                </a:moveTo>
                <a:lnTo>
                  <a:pt x="448350" y="354477"/>
                </a:lnTo>
                <a:lnTo>
                  <a:pt x="448350" y="402262"/>
                </a:lnTo>
                <a:lnTo>
                  <a:pt x="496460" y="402262"/>
                </a:lnTo>
                <a:close/>
                <a:moveTo>
                  <a:pt x="572175" y="354477"/>
                </a:moveTo>
                <a:lnTo>
                  <a:pt x="524065" y="354477"/>
                </a:lnTo>
                <a:lnTo>
                  <a:pt x="524065" y="402262"/>
                </a:lnTo>
                <a:lnTo>
                  <a:pt x="572175" y="402262"/>
                </a:lnTo>
                <a:close/>
                <a:moveTo>
                  <a:pt x="496460" y="287115"/>
                </a:moveTo>
                <a:lnTo>
                  <a:pt x="448350" y="287115"/>
                </a:lnTo>
                <a:lnTo>
                  <a:pt x="448350" y="334900"/>
                </a:lnTo>
                <a:lnTo>
                  <a:pt x="496460" y="334900"/>
                </a:lnTo>
                <a:close/>
                <a:moveTo>
                  <a:pt x="572175" y="287115"/>
                </a:moveTo>
                <a:lnTo>
                  <a:pt x="524065" y="287115"/>
                </a:lnTo>
                <a:lnTo>
                  <a:pt x="524065" y="334900"/>
                </a:lnTo>
                <a:lnTo>
                  <a:pt x="572175" y="334900"/>
                </a:lnTo>
                <a:close/>
                <a:moveTo>
                  <a:pt x="146493" y="261457"/>
                </a:moveTo>
                <a:cubicBezTo>
                  <a:pt x="202338" y="261457"/>
                  <a:pt x="247609" y="275505"/>
                  <a:pt x="247609" y="292835"/>
                </a:cubicBezTo>
                <a:cubicBezTo>
                  <a:pt x="247609" y="310165"/>
                  <a:pt x="202338" y="324213"/>
                  <a:pt x="146493" y="324213"/>
                </a:cubicBezTo>
                <a:cubicBezTo>
                  <a:pt x="90648" y="324213"/>
                  <a:pt x="45377" y="310165"/>
                  <a:pt x="45377" y="292835"/>
                </a:cubicBezTo>
                <a:cubicBezTo>
                  <a:pt x="45377" y="275505"/>
                  <a:pt x="90648" y="261457"/>
                  <a:pt x="146493" y="261457"/>
                </a:cubicBezTo>
                <a:close/>
                <a:moveTo>
                  <a:pt x="146493" y="238664"/>
                </a:moveTo>
                <a:cubicBezTo>
                  <a:pt x="70644" y="238664"/>
                  <a:pt x="8258" y="263526"/>
                  <a:pt x="756" y="295386"/>
                </a:cubicBezTo>
                <a:lnTo>
                  <a:pt x="224" y="299934"/>
                </a:lnTo>
                <a:lnTo>
                  <a:pt x="0" y="299934"/>
                </a:lnTo>
                <a:lnTo>
                  <a:pt x="0" y="301846"/>
                </a:lnTo>
                <a:cubicBezTo>
                  <a:pt x="0" y="347321"/>
                  <a:pt x="0" y="527632"/>
                  <a:pt x="0" y="572789"/>
                </a:cubicBezTo>
                <a:lnTo>
                  <a:pt x="0" y="572790"/>
                </a:lnTo>
                <a:lnTo>
                  <a:pt x="0" y="572791"/>
                </a:lnTo>
                <a:lnTo>
                  <a:pt x="0" y="574701"/>
                </a:lnTo>
                <a:lnTo>
                  <a:pt x="224" y="574701"/>
                </a:lnTo>
                <a:lnTo>
                  <a:pt x="756" y="579250"/>
                </a:lnTo>
                <a:cubicBezTo>
                  <a:pt x="8258" y="611109"/>
                  <a:pt x="70644" y="635971"/>
                  <a:pt x="146493" y="635971"/>
                </a:cubicBezTo>
                <a:cubicBezTo>
                  <a:pt x="222342" y="635971"/>
                  <a:pt x="284727" y="611109"/>
                  <a:pt x="292229" y="579250"/>
                </a:cubicBezTo>
                <a:lnTo>
                  <a:pt x="292762" y="574701"/>
                </a:lnTo>
                <a:lnTo>
                  <a:pt x="292986" y="574701"/>
                </a:lnTo>
                <a:lnTo>
                  <a:pt x="292986" y="572790"/>
                </a:lnTo>
                <a:lnTo>
                  <a:pt x="292986" y="301846"/>
                </a:lnTo>
                <a:lnTo>
                  <a:pt x="292986" y="301846"/>
                </a:lnTo>
                <a:lnTo>
                  <a:pt x="292986" y="301845"/>
                </a:lnTo>
                <a:lnTo>
                  <a:pt x="292229" y="295386"/>
                </a:lnTo>
                <a:cubicBezTo>
                  <a:pt x="284728" y="263526"/>
                  <a:pt x="222342" y="238664"/>
                  <a:pt x="146493" y="238664"/>
                </a:cubicBezTo>
                <a:close/>
                <a:moveTo>
                  <a:pt x="534317" y="219753"/>
                </a:moveTo>
                <a:lnTo>
                  <a:pt x="486207" y="219753"/>
                </a:lnTo>
                <a:lnTo>
                  <a:pt x="486207" y="267538"/>
                </a:lnTo>
                <a:lnTo>
                  <a:pt x="534317" y="267538"/>
                </a:lnTo>
                <a:close/>
                <a:moveTo>
                  <a:pt x="449628" y="0"/>
                </a:moveTo>
                <a:lnTo>
                  <a:pt x="230694" y="119160"/>
                </a:lnTo>
                <a:lnTo>
                  <a:pt x="230694" y="162466"/>
                </a:lnTo>
                <a:lnTo>
                  <a:pt x="272097" y="162466"/>
                </a:lnTo>
                <a:lnTo>
                  <a:pt x="272097" y="251850"/>
                </a:lnTo>
                <a:lnTo>
                  <a:pt x="309810" y="251850"/>
                </a:lnTo>
                <a:lnTo>
                  <a:pt x="309810" y="162466"/>
                </a:lnTo>
                <a:lnTo>
                  <a:pt x="592776" y="162466"/>
                </a:lnTo>
                <a:lnTo>
                  <a:pt x="592776" y="403380"/>
                </a:lnTo>
                <a:lnTo>
                  <a:pt x="639160" y="403380"/>
                </a:lnTo>
                <a:lnTo>
                  <a:pt x="639160" y="162466"/>
                </a:lnTo>
                <a:lnTo>
                  <a:pt x="665158" y="162466"/>
                </a:lnTo>
                <a:lnTo>
                  <a:pt x="665158" y="119160"/>
                </a:lnTo>
                <a:close/>
              </a:path>
            </a:pathLst>
          </a:cu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C355E673-7E78-4085-8964-03970B3FA375}"/>
              </a:ext>
            </a:extLst>
          </p:cNvPr>
          <p:cNvGrpSpPr/>
          <p:nvPr/>
        </p:nvGrpSpPr>
        <p:grpSpPr>
          <a:xfrm>
            <a:off x="2874055" y="3300006"/>
            <a:ext cx="728736" cy="766996"/>
            <a:chOff x="868143" y="921769"/>
            <a:chExt cx="4550679" cy="4789602"/>
          </a:xfrm>
        </p:grpSpPr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2B55B1D1-809F-45FE-9B3B-ED0CE1FD6FDE}"/>
                </a:ext>
              </a:extLst>
            </p:cNvPr>
            <p:cNvSpPr/>
            <p:nvPr/>
          </p:nvSpPr>
          <p:spPr bwMode="auto">
            <a:xfrm>
              <a:off x="1856368" y="2966308"/>
              <a:ext cx="3056313" cy="2182647"/>
            </a:xfrm>
            <a:custGeom>
              <a:avLst/>
              <a:gdLst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2778792 w 3056316"/>
                <a:gd name="connsiteY2" fmla="*/ 1666538 h 2182650"/>
                <a:gd name="connsiteX3" fmla="*/ 2786215 w 3056316"/>
                <a:gd name="connsiteY3" fmla="*/ 1651953 h 2182650"/>
                <a:gd name="connsiteX4" fmla="*/ 3056316 w 3056316"/>
                <a:gd name="connsiteY4" fmla="*/ 2182650 h 2182650"/>
                <a:gd name="connsiteX5" fmla="*/ 2516113 w 3056316"/>
                <a:gd name="connsiteY5" fmla="*/ 2182650 h 2182650"/>
                <a:gd name="connsiteX6" fmla="*/ 2516720 w 3056316"/>
                <a:gd name="connsiteY6" fmla="*/ 2181457 h 2182650"/>
                <a:gd name="connsiteX7" fmla="*/ 0 w 3056316"/>
                <a:gd name="connsiteY7" fmla="*/ 218265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2778792 w 3056316"/>
                <a:gd name="connsiteY2" fmla="*/ 1666538 h 2182650"/>
                <a:gd name="connsiteX3" fmla="*/ 3056316 w 3056316"/>
                <a:gd name="connsiteY3" fmla="*/ 2182650 h 2182650"/>
                <a:gd name="connsiteX4" fmla="*/ 2516113 w 3056316"/>
                <a:gd name="connsiteY4" fmla="*/ 2182650 h 2182650"/>
                <a:gd name="connsiteX5" fmla="*/ 2516720 w 3056316"/>
                <a:gd name="connsiteY5" fmla="*/ 2181457 h 2182650"/>
                <a:gd name="connsiteX6" fmla="*/ 0 w 3056316"/>
                <a:gd name="connsiteY6" fmla="*/ 2182650 h 2182650"/>
                <a:gd name="connsiteX7" fmla="*/ 1087004 w 3056316"/>
                <a:gd name="connsiteY7" fmla="*/ 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3056316 w 3056316"/>
                <a:gd name="connsiteY2" fmla="*/ 2182650 h 2182650"/>
                <a:gd name="connsiteX3" fmla="*/ 2516113 w 3056316"/>
                <a:gd name="connsiteY3" fmla="*/ 2182650 h 2182650"/>
                <a:gd name="connsiteX4" fmla="*/ 2516720 w 3056316"/>
                <a:gd name="connsiteY4" fmla="*/ 2181457 h 2182650"/>
                <a:gd name="connsiteX5" fmla="*/ 0 w 3056316"/>
                <a:gd name="connsiteY5" fmla="*/ 2182650 h 2182650"/>
                <a:gd name="connsiteX6" fmla="*/ 1087004 w 3056316"/>
                <a:gd name="connsiteY6" fmla="*/ 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3056316 w 3056316"/>
                <a:gd name="connsiteY2" fmla="*/ 2182650 h 2182650"/>
                <a:gd name="connsiteX3" fmla="*/ 2516113 w 3056316"/>
                <a:gd name="connsiteY3" fmla="*/ 2182650 h 2182650"/>
                <a:gd name="connsiteX4" fmla="*/ 0 w 3056316"/>
                <a:gd name="connsiteY4" fmla="*/ 2182650 h 2182650"/>
                <a:gd name="connsiteX5" fmla="*/ 1087004 w 3056316"/>
                <a:gd name="connsiteY5" fmla="*/ 0 h 2182650"/>
                <a:gd name="connsiteX0" fmla="*/ 1087004 w 3056316"/>
                <a:gd name="connsiteY0" fmla="*/ 0 h 2182650"/>
                <a:gd name="connsiteX1" fmla="*/ 1895809 w 3056316"/>
                <a:gd name="connsiteY1" fmla="*/ 0 h 2182650"/>
                <a:gd name="connsiteX2" fmla="*/ 3056316 w 3056316"/>
                <a:gd name="connsiteY2" fmla="*/ 2182650 h 2182650"/>
                <a:gd name="connsiteX3" fmla="*/ 0 w 3056316"/>
                <a:gd name="connsiteY3" fmla="*/ 2182650 h 2182650"/>
                <a:gd name="connsiteX4" fmla="*/ 1087004 w 3056316"/>
                <a:gd name="connsiteY4" fmla="*/ 0 h 2182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6316" h="2182650">
                  <a:moveTo>
                    <a:pt x="1087004" y="0"/>
                  </a:moveTo>
                  <a:lnTo>
                    <a:pt x="1895809" y="0"/>
                  </a:lnTo>
                  <a:lnTo>
                    <a:pt x="3056316" y="2182650"/>
                  </a:lnTo>
                  <a:lnTo>
                    <a:pt x="0" y="2182650"/>
                  </a:lnTo>
                  <a:lnTo>
                    <a:pt x="1087004" y="0"/>
                  </a:lnTo>
                  <a:close/>
                </a:path>
              </a:pathLst>
            </a:custGeom>
            <a:solidFill>
              <a:schemeClr val="accent1"/>
            </a:solidFill>
            <a:ln w="12700" cap="rnd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4E05EF08-677D-46F5-B0E8-EC5644752E6B}"/>
                </a:ext>
              </a:extLst>
            </p:cNvPr>
            <p:cNvSpPr/>
            <p:nvPr/>
          </p:nvSpPr>
          <p:spPr bwMode="auto">
            <a:xfrm flipH="1">
              <a:off x="868143" y="921769"/>
              <a:ext cx="4550679" cy="4789602"/>
            </a:xfrm>
            <a:custGeom>
              <a:avLst/>
              <a:gdLst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2480038 w 4550679"/>
                <a:gd name="connsiteY26" fmla="*/ 2044542 h 4789602"/>
                <a:gd name="connsiteX27" fmla="*/ 2069912 w 4550679"/>
                <a:gd name="connsiteY27" fmla="*/ 2044542 h 4789602"/>
                <a:gd name="connsiteX28" fmla="*/ 983576 w 4550679"/>
                <a:gd name="connsiteY28" fmla="*/ 4225849 h 4789602"/>
                <a:gd name="connsiteX29" fmla="*/ 730598 w 4550679"/>
                <a:gd name="connsiteY29" fmla="*/ 4225849 h 4789602"/>
                <a:gd name="connsiteX30" fmla="*/ 617967 w 4550679"/>
                <a:gd name="connsiteY30" fmla="*/ 4032472 h 4789602"/>
                <a:gd name="connsiteX31" fmla="*/ 1933777 w 4550679"/>
                <a:gd name="connsiteY31" fmla="*/ 1536374 h 4789602"/>
                <a:gd name="connsiteX32" fmla="*/ 1935041 w 4550679"/>
                <a:gd name="connsiteY32" fmla="*/ 1541054 h 4789602"/>
                <a:gd name="connsiteX33" fmla="*/ 1935041 w 4550679"/>
                <a:gd name="connsiteY33" fmla="*/ 559355 h 4789602"/>
                <a:gd name="connsiteX34" fmla="*/ 2616902 w 4550679"/>
                <a:gd name="connsiteY34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2480038 w 4550679"/>
                <a:gd name="connsiteY26" fmla="*/ 2044542 h 4789602"/>
                <a:gd name="connsiteX27" fmla="*/ 2069912 w 4550679"/>
                <a:gd name="connsiteY27" fmla="*/ 2044542 h 4789602"/>
                <a:gd name="connsiteX28" fmla="*/ 983576 w 4550679"/>
                <a:gd name="connsiteY28" fmla="*/ 4225849 h 4789602"/>
                <a:gd name="connsiteX29" fmla="*/ 730598 w 4550679"/>
                <a:gd name="connsiteY29" fmla="*/ 4225849 h 4789602"/>
                <a:gd name="connsiteX30" fmla="*/ 617967 w 4550679"/>
                <a:gd name="connsiteY30" fmla="*/ 4032472 h 4789602"/>
                <a:gd name="connsiteX31" fmla="*/ 1933777 w 4550679"/>
                <a:gd name="connsiteY31" fmla="*/ 1536374 h 4789602"/>
                <a:gd name="connsiteX32" fmla="*/ 1935041 w 4550679"/>
                <a:gd name="connsiteY32" fmla="*/ 559355 h 4789602"/>
                <a:gd name="connsiteX33" fmla="*/ 2616902 w 4550679"/>
                <a:gd name="connsiteY33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2480038 w 4550679"/>
                <a:gd name="connsiteY26" fmla="*/ 2044542 h 4789602"/>
                <a:gd name="connsiteX27" fmla="*/ 983576 w 4550679"/>
                <a:gd name="connsiteY27" fmla="*/ 4225849 h 4789602"/>
                <a:gd name="connsiteX28" fmla="*/ 730598 w 4550679"/>
                <a:gd name="connsiteY28" fmla="*/ 4225849 h 4789602"/>
                <a:gd name="connsiteX29" fmla="*/ 617967 w 4550679"/>
                <a:gd name="connsiteY29" fmla="*/ 4032472 h 4789602"/>
                <a:gd name="connsiteX30" fmla="*/ 1933777 w 4550679"/>
                <a:gd name="connsiteY30" fmla="*/ 1536374 h 4789602"/>
                <a:gd name="connsiteX31" fmla="*/ 1935041 w 4550679"/>
                <a:gd name="connsiteY31" fmla="*/ 559355 h 4789602"/>
                <a:gd name="connsiteX32" fmla="*/ 2616902 w 4550679"/>
                <a:gd name="connsiteY32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3567103 w 4550679"/>
                <a:gd name="connsiteY25" fmla="*/ 4227314 h 4789602"/>
                <a:gd name="connsiteX26" fmla="*/ 983576 w 4550679"/>
                <a:gd name="connsiteY26" fmla="*/ 4225849 h 4789602"/>
                <a:gd name="connsiteX27" fmla="*/ 730598 w 4550679"/>
                <a:gd name="connsiteY27" fmla="*/ 4225849 h 4789602"/>
                <a:gd name="connsiteX28" fmla="*/ 617967 w 4550679"/>
                <a:gd name="connsiteY28" fmla="*/ 4032472 h 4789602"/>
                <a:gd name="connsiteX29" fmla="*/ 1933777 w 4550679"/>
                <a:gd name="connsiteY29" fmla="*/ 1536374 h 4789602"/>
                <a:gd name="connsiteX30" fmla="*/ 1935041 w 4550679"/>
                <a:gd name="connsiteY30" fmla="*/ 559355 h 4789602"/>
                <a:gd name="connsiteX31" fmla="*/ 2616902 w 4550679"/>
                <a:gd name="connsiteY31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983576 w 4550679"/>
                <a:gd name="connsiteY25" fmla="*/ 4225849 h 4789602"/>
                <a:gd name="connsiteX26" fmla="*/ 730598 w 4550679"/>
                <a:gd name="connsiteY26" fmla="*/ 4225849 h 4789602"/>
                <a:gd name="connsiteX27" fmla="*/ 617967 w 4550679"/>
                <a:gd name="connsiteY27" fmla="*/ 4032472 h 4789602"/>
                <a:gd name="connsiteX28" fmla="*/ 1933777 w 4550679"/>
                <a:gd name="connsiteY28" fmla="*/ 1536374 h 4789602"/>
                <a:gd name="connsiteX29" fmla="*/ 1935041 w 4550679"/>
                <a:gd name="connsiteY29" fmla="*/ 559355 h 4789602"/>
                <a:gd name="connsiteX30" fmla="*/ 2616902 w 4550679"/>
                <a:gd name="connsiteY30" fmla="*/ 559355 h 4789602"/>
                <a:gd name="connsiteX0" fmla="*/ 3443078 w 4550679"/>
                <a:gd name="connsiteY0" fmla="*/ 0 h 4789602"/>
                <a:gd name="connsiteX1" fmla="*/ 1105998 w 4550679"/>
                <a:gd name="connsiteY1" fmla="*/ 0 h 4789602"/>
                <a:gd name="connsiteX2" fmla="*/ 1105998 w 4550679"/>
                <a:gd name="connsiteY2" fmla="*/ 559355 h 4789602"/>
                <a:gd name="connsiteX3" fmla="*/ 1394974 w 4550679"/>
                <a:gd name="connsiteY3" fmla="*/ 559355 h 4789602"/>
                <a:gd name="connsiteX4" fmla="*/ 1394974 w 4550679"/>
                <a:gd name="connsiteY4" fmla="*/ 1404731 h 4789602"/>
                <a:gd name="connsiteX5" fmla="*/ 1330 w 4550679"/>
                <a:gd name="connsiteY5" fmla="*/ 4045234 h 4789602"/>
                <a:gd name="connsiteX6" fmla="*/ 0 w 4550679"/>
                <a:gd name="connsiteY6" fmla="*/ 4046009 h 4789602"/>
                <a:gd name="connsiteX7" fmla="*/ 483 w 4550679"/>
                <a:gd name="connsiteY7" fmla="*/ 4046839 h 4789602"/>
                <a:gd name="connsiteX8" fmla="*/ 2 w 4550679"/>
                <a:gd name="connsiteY8" fmla="*/ 4047751 h 4789602"/>
                <a:gd name="connsiteX9" fmla="*/ 1462 w 4550679"/>
                <a:gd name="connsiteY9" fmla="*/ 4048522 h 4789602"/>
                <a:gd name="connsiteX10" fmla="*/ 433105 w 4550679"/>
                <a:gd name="connsiteY10" fmla="*/ 4789602 h 4789602"/>
                <a:gd name="connsiteX11" fmla="*/ 4117574 w 4550679"/>
                <a:gd name="connsiteY11" fmla="*/ 4789602 h 4789602"/>
                <a:gd name="connsiteX12" fmla="*/ 4549217 w 4550679"/>
                <a:gd name="connsiteY12" fmla="*/ 4048520 h 4789602"/>
                <a:gd name="connsiteX13" fmla="*/ 4550677 w 4550679"/>
                <a:gd name="connsiteY13" fmla="*/ 4047749 h 4789602"/>
                <a:gd name="connsiteX14" fmla="*/ 4550196 w 4550679"/>
                <a:gd name="connsiteY14" fmla="*/ 4046838 h 4789602"/>
                <a:gd name="connsiteX15" fmla="*/ 4550679 w 4550679"/>
                <a:gd name="connsiteY15" fmla="*/ 4046009 h 4789602"/>
                <a:gd name="connsiteX16" fmla="*/ 4549350 w 4550679"/>
                <a:gd name="connsiteY16" fmla="*/ 4045236 h 4789602"/>
                <a:gd name="connsiteX17" fmla="*/ 3156970 w 4550679"/>
                <a:gd name="connsiteY17" fmla="*/ 1407125 h 4789602"/>
                <a:gd name="connsiteX18" fmla="*/ 3156970 w 4550679"/>
                <a:gd name="connsiteY18" fmla="*/ 559355 h 4789602"/>
                <a:gd name="connsiteX19" fmla="*/ 3443078 w 4550679"/>
                <a:gd name="connsiteY19" fmla="*/ 559355 h 4789602"/>
                <a:gd name="connsiteX20" fmla="*/ 3443078 w 4550679"/>
                <a:gd name="connsiteY20" fmla="*/ 0 h 4789602"/>
                <a:gd name="connsiteX21" fmla="*/ 2616902 w 4550679"/>
                <a:gd name="connsiteY21" fmla="*/ 559355 h 4789602"/>
                <a:gd name="connsiteX22" fmla="*/ 2616902 w 4550679"/>
                <a:gd name="connsiteY22" fmla="*/ 1537839 h 4789602"/>
                <a:gd name="connsiteX23" fmla="*/ 3932712 w 4550679"/>
                <a:gd name="connsiteY23" fmla="*/ 4033937 h 4789602"/>
                <a:gd name="connsiteX24" fmla="*/ 3820081 w 4550679"/>
                <a:gd name="connsiteY24" fmla="*/ 4227314 h 4789602"/>
                <a:gd name="connsiteX25" fmla="*/ 730598 w 4550679"/>
                <a:gd name="connsiteY25" fmla="*/ 4225849 h 4789602"/>
                <a:gd name="connsiteX26" fmla="*/ 617967 w 4550679"/>
                <a:gd name="connsiteY26" fmla="*/ 4032472 h 4789602"/>
                <a:gd name="connsiteX27" fmla="*/ 1933777 w 4550679"/>
                <a:gd name="connsiteY27" fmla="*/ 1536374 h 4789602"/>
                <a:gd name="connsiteX28" fmla="*/ 1935041 w 4550679"/>
                <a:gd name="connsiteY28" fmla="*/ 559355 h 4789602"/>
                <a:gd name="connsiteX29" fmla="*/ 2616902 w 4550679"/>
                <a:gd name="connsiteY29" fmla="*/ 559355 h 4789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550679" h="4789602">
                  <a:moveTo>
                    <a:pt x="3443078" y="0"/>
                  </a:moveTo>
                  <a:lnTo>
                    <a:pt x="1105998" y="0"/>
                  </a:lnTo>
                  <a:lnTo>
                    <a:pt x="1105998" y="559355"/>
                  </a:lnTo>
                  <a:lnTo>
                    <a:pt x="1394974" y="559355"/>
                  </a:lnTo>
                  <a:lnTo>
                    <a:pt x="1394974" y="1404731"/>
                  </a:lnTo>
                  <a:lnTo>
                    <a:pt x="1330" y="4045234"/>
                  </a:lnTo>
                  <a:lnTo>
                    <a:pt x="0" y="4046009"/>
                  </a:lnTo>
                  <a:lnTo>
                    <a:pt x="483" y="4046839"/>
                  </a:lnTo>
                  <a:lnTo>
                    <a:pt x="2" y="4047751"/>
                  </a:lnTo>
                  <a:lnTo>
                    <a:pt x="1462" y="4048522"/>
                  </a:lnTo>
                  <a:lnTo>
                    <a:pt x="433105" y="4789602"/>
                  </a:lnTo>
                  <a:lnTo>
                    <a:pt x="4117574" y="4789602"/>
                  </a:lnTo>
                  <a:lnTo>
                    <a:pt x="4549217" y="4048520"/>
                  </a:lnTo>
                  <a:lnTo>
                    <a:pt x="4550677" y="4047749"/>
                  </a:lnTo>
                  <a:lnTo>
                    <a:pt x="4550196" y="4046838"/>
                  </a:lnTo>
                  <a:lnTo>
                    <a:pt x="4550679" y="4046009"/>
                  </a:lnTo>
                  <a:lnTo>
                    <a:pt x="4549350" y="4045236"/>
                  </a:lnTo>
                  <a:lnTo>
                    <a:pt x="3156970" y="1407125"/>
                  </a:lnTo>
                  <a:lnTo>
                    <a:pt x="3156970" y="559355"/>
                  </a:lnTo>
                  <a:lnTo>
                    <a:pt x="3443078" y="559355"/>
                  </a:lnTo>
                  <a:lnTo>
                    <a:pt x="3443078" y="0"/>
                  </a:lnTo>
                  <a:close/>
                  <a:moveTo>
                    <a:pt x="2616902" y="559355"/>
                  </a:moveTo>
                  <a:lnTo>
                    <a:pt x="2616902" y="1537839"/>
                  </a:lnTo>
                  <a:lnTo>
                    <a:pt x="3932712" y="4033937"/>
                  </a:lnTo>
                  <a:lnTo>
                    <a:pt x="3820081" y="4227314"/>
                  </a:lnTo>
                  <a:lnTo>
                    <a:pt x="730598" y="4225849"/>
                  </a:lnTo>
                  <a:lnTo>
                    <a:pt x="617967" y="4032472"/>
                  </a:lnTo>
                  <a:lnTo>
                    <a:pt x="1933777" y="1536374"/>
                  </a:lnTo>
                  <a:cubicBezTo>
                    <a:pt x="1934198" y="1210701"/>
                    <a:pt x="1934620" y="885028"/>
                    <a:pt x="1935041" y="559355"/>
                  </a:cubicBezTo>
                  <a:lnTo>
                    <a:pt x="2616902" y="5593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69" name="Group 331">
            <a:extLst>
              <a:ext uri="{FF2B5EF4-FFF2-40B4-BE49-F238E27FC236}">
                <a16:creationId xmlns:a16="http://schemas.microsoft.com/office/drawing/2014/main" id="{7F4EF01C-AB67-4E0C-ADDF-4987BDBD2C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42973" y="3321469"/>
            <a:ext cx="872240" cy="724070"/>
            <a:chOff x="2204" y="2803"/>
            <a:chExt cx="312" cy="259"/>
          </a:xfrm>
        </p:grpSpPr>
        <p:sp>
          <p:nvSpPr>
            <p:cNvPr id="248" name="Freeform 332">
              <a:extLst>
                <a:ext uri="{FF2B5EF4-FFF2-40B4-BE49-F238E27FC236}">
                  <a16:creationId xmlns:a16="http://schemas.microsoft.com/office/drawing/2014/main" id="{74BBDB7D-12CA-4104-8755-25B07F9D8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6" y="295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9" name="Freeform 333">
              <a:extLst>
                <a:ext uri="{FF2B5EF4-FFF2-40B4-BE49-F238E27FC236}">
                  <a16:creationId xmlns:a16="http://schemas.microsoft.com/office/drawing/2014/main" id="{2CEC48EE-E2B4-48EB-AE11-4E02B98E3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969"/>
              <a:ext cx="59" cy="93"/>
            </a:xfrm>
            <a:custGeom>
              <a:avLst/>
              <a:gdLst>
                <a:gd name="T0" fmla="*/ 132 w 260"/>
                <a:gd name="T1" fmla="*/ 0 h 409"/>
                <a:gd name="T2" fmla="*/ 0 w 260"/>
                <a:gd name="T3" fmla="*/ 318 h 409"/>
                <a:gd name="T4" fmla="*/ 91 w 260"/>
                <a:gd name="T5" fmla="*/ 409 h 409"/>
                <a:gd name="T6" fmla="*/ 260 w 260"/>
                <a:gd name="T7" fmla="*/ 0 h 409"/>
                <a:gd name="T8" fmla="*/ 132 w 260"/>
                <a:gd name="T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409">
                  <a:moveTo>
                    <a:pt x="132" y="0"/>
                  </a:moveTo>
                  <a:cubicBezTo>
                    <a:pt x="123" y="121"/>
                    <a:pt x="75" y="231"/>
                    <a:pt x="0" y="318"/>
                  </a:cubicBezTo>
                  <a:cubicBezTo>
                    <a:pt x="91" y="409"/>
                    <a:pt x="91" y="409"/>
                    <a:pt x="91" y="409"/>
                  </a:cubicBezTo>
                  <a:cubicBezTo>
                    <a:pt x="188" y="299"/>
                    <a:pt x="251" y="157"/>
                    <a:pt x="260" y="0"/>
                  </a:cubicBezTo>
                  <a:lnTo>
                    <a:pt x="1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0" name="Freeform 334">
              <a:extLst>
                <a:ext uri="{FF2B5EF4-FFF2-40B4-BE49-F238E27FC236}">
                  <a16:creationId xmlns:a16="http://schemas.microsoft.com/office/drawing/2014/main" id="{56C963D9-ACBF-493F-8698-2D924D239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856"/>
              <a:ext cx="59" cy="93"/>
            </a:xfrm>
            <a:custGeom>
              <a:avLst/>
              <a:gdLst>
                <a:gd name="T0" fmla="*/ 0 w 260"/>
                <a:gd name="T1" fmla="*/ 91 h 409"/>
                <a:gd name="T2" fmla="*/ 132 w 260"/>
                <a:gd name="T3" fmla="*/ 409 h 409"/>
                <a:gd name="T4" fmla="*/ 260 w 260"/>
                <a:gd name="T5" fmla="*/ 409 h 409"/>
                <a:gd name="T6" fmla="*/ 91 w 260"/>
                <a:gd name="T7" fmla="*/ 0 h 409"/>
                <a:gd name="T8" fmla="*/ 0 w 260"/>
                <a:gd name="T9" fmla="*/ 9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409">
                  <a:moveTo>
                    <a:pt x="0" y="91"/>
                  </a:moveTo>
                  <a:cubicBezTo>
                    <a:pt x="79" y="183"/>
                    <a:pt x="123" y="295"/>
                    <a:pt x="132" y="409"/>
                  </a:cubicBezTo>
                  <a:cubicBezTo>
                    <a:pt x="260" y="409"/>
                    <a:pt x="260" y="409"/>
                    <a:pt x="260" y="409"/>
                  </a:cubicBezTo>
                  <a:cubicBezTo>
                    <a:pt x="251" y="262"/>
                    <a:pt x="195" y="118"/>
                    <a:pt x="91" y="0"/>
                  </a:cubicBezTo>
                  <a:lnTo>
                    <a:pt x="0" y="91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1" name="Freeform 335">
              <a:extLst>
                <a:ext uri="{FF2B5EF4-FFF2-40B4-BE49-F238E27FC236}">
                  <a16:creationId xmlns:a16="http://schemas.microsoft.com/office/drawing/2014/main" id="{802CD9BC-601A-4B28-8233-34F597853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" y="2803"/>
              <a:ext cx="93" cy="59"/>
            </a:xfrm>
            <a:custGeom>
              <a:avLst/>
              <a:gdLst>
                <a:gd name="T0" fmla="*/ 0 w 409"/>
                <a:gd name="T1" fmla="*/ 128 h 260"/>
                <a:gd name="T2" fmla="*/ 318 w 409"/>
                <a:gd name="T3" fmla="*/ 260 h 260"/>
                <a:gd name="T4" fmla="*/ 409 w 409"/>
                <a:gd name="T5" fmla="*/ 169 h 260"/>
                <a:gd name="T6" fmla="*/ 0 w 409"/>
                <a:gd name="T7" fmla="*/ 0 h 260"/>
                <a:gd name="T8" fmla="*/ 0 w 409"/>
                <a:gd name="T9" fmla="*/ 128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9" h="260">
                  <a:moveTo>
                    <a:pt x="0" y="128"/>
                  </a:moveTo>
                  <a:cubicBezTo>
                    <a:pt x="121" y="138"/>
                    <a:pt x="231" y="186"/>
                    <a:pt x="318" y="260"/>
                  </a:cubicBezTo>
                  <a:cubicBezTo>
                    <a:pt x="409" y="169"/>
                    <a:pt x="409" y="169"/>
                    <a:pt x="409" y="169"/>
                  </a:cubicBezTo>
                  <a:cubicBezTo>
                    <a:pt x="299" y="72"/>
                    <a:pt x="157" y="10"/>
                    <a:pt x="0" y="0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2" name="Freeform 336">
              <a:extLst>
                <a:ext uri="{FF2B5EF4-FFF2-40B4-BE49-F238E27FC236}">
                  <a16:creationId xmlns:a16="http://schemas.microsoft.com/office/drawing/2014/main" id="{8338A689-BE6F-4045-A535-6864D5C61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7" y="2803"/>
              <a:ext cx="93" cy="59"/>
            </a:xfrm>
            <a:custGeom>
              <a:avLst/>
              <a:gdLst>
                <a:gd name="T0" fmla="*/ 91 w 409"/>
                <a:gd name="T1" fmla="*/ 260 h 260"/>
                <a:gd name="T2" fmla="*/ 409 w 409"/>
                <a:gd name="T3" fmla="*/ 129 h 260"/>
                <a:gd name="T4" fmla="*/ 409 w 409"/>
                <a:gd name="T5" fmla="*/ 0 h 260"/>
                <a:gd name="T6" fmla="*/ 0 w 409"/>
                <a:gd name="T7" fmla="*/ 169 h 260"/>
                <a:gd name="T8" fmla="*/ 91 w 409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9" h="260">
                  <a:moveTo>
                    <a:pt x="91" y="260"/>
                  </a:moveTo>
                  <a:cubicBezTo>
                    <a:pt x="183" y="181"/>
                    <a:pt x="295" y="137"/>
                    <a:pt x="409" y="129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262" y="9"/>
                    <a:pt x="117" y="66"/>
                    <a:pt x="0" y="169"/>
                  </a:cubicBezTo>
                  <a:lnTo>
                    <a:pt x="91" y="260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3" name="Freeform 337">
              <a:extLst>
                <a:ext uri="{FF2B5EF4-FFF2-40B4-BE49-F238E27FC236}">
                  <a16:creationId xmlns:a16="http://schemas.microsoft.com/office/drawing/2014/main" id="{2BFDA4F2-9D96-4F9A-BC9C-3FB7AD112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4" y="2856"/>
              <a:ext cx="59" cy="93"/>
            </a:xfrm>
            <a:custGeom>
              <a:avLst/>
              <a:gdLst>
                <a:gd name="T0" fmla="*/ 128 w 260"/>
                <a:gd name="T1" fmla="*/ 409 h 409"/>
                <a:gd name="T2" fmla="*/ 260 w 260"/>
                <a:gd name="T3" fmla="*/ 91 h 409"/>
                <a:gd name="T4" fmla="*/ 169 w 260"/>
                <a:gd name="T5" fmla="*/ 0 h 409"/>
                <a:gd name="T6" fmla="*/ 0 w 260"/>
                <a:gd name="T7" fmla="*/ 409 h 409"/>
                <a:gd name="T8" fmla="*/ 128 w 260"/>
                <a:gd name="T9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409">
                  <a:moveTo>
                    <a:pt x="128" y="409"/>
                  </a:moveTo>
                  <a:cubicBezTo>
                    <a:pt x="137" y="288"/>
                    <a:pt x="186" y="178"/>
                    <a:pt x="260" y="91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72" y="111"/>
                    <a:pt x="10" y="253"/>
                    <a:pt x="0" y="409"/>
                  </a:cubicBezTo>
                  <a:lnTo>
                    <a:pt x="128" y="409"/>
                  </a:ln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7" name="Oval 338">
              <a:extLst>
                <a:ext uri="{FF2B5EF4-FFF2-40B4-BE49-F238E27FC236}">
                  <a16:creationId xmlns:a16="http://schemas.microsoft.com/office/drawing/2014/main" id="{F1380889-6262-492E-9461-D1D75AFA9C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1" y="2930"/>
              <a:ext cx="58" cy="58"/>
            </a:xfrm>
            <a:prstGeom prst="ellipse">
              <a:avLst/>
            </a:pr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8" name="Freeform 339">
              <a:extLst>
                <a:ext uri="{FF2B5EF4-FFF2-40B4-BE49-F238E27FC236}">
                  <a16:creationId xmlns:a16="http://schemas.microsoft.com/office/drawing/2014/main" id="{8A23D21F-769E-4E95-8DC8-AC01C37D4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" y="2885"/>
              <a:ext cx="89" cy="88"/>
            </a:xfrm>
            <a:custGeom>
              <a:avLst/>
              <a:gdLst>
                <a:gd name="T0" fmla="*/ 21 w 89"/>
                <a:gd name="T1" fmla="*/ 88 h 88"/>
                <a:gd name="T2" fmla="*/ 0 w 89"/>
                <a:gd name="T3" fmla="*/ 68 h 88"/>
                <a:gd name="T4" fmla="*/ 68 w 89"/>
                <a:gd name="T5" fmla="*/ 0 h 88"/>
                <a:gd name="T6" fmla="*/ 89 w 89"/>
                <a:gd name="T7" fmla="*/ 21 h 88"/>
                <a:gd name="T8" fmla="*/ 21 w 89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88">
                  <a:moveTo>
                    <a:pt x="21" y="88"/>
                  </a:moveTo>
                  <a:lnTo>
                    <a:pt x="0" y="68"/>
                  </a:lnTo>
                  <a:lnTo>
                    <a:pt x="68" y="0"/>
                  </a:lnTo>
                  <a:lnTo>
                    <a:pt x="89" y="21"/>
                  </a:lnTo>
                  <a:lnTo>
                    <a:pt x="21" y="88"/>
                  </a:lnTo>
                  <a:close/>
                </a:path>
              </a:pathLst>
            </a:custGeom>
            <a:solidFill>
              <a:srgbClr val="5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78D8D64A-C991-4AC5-9ED3-2C8EE44F758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434" r="7293" b="35846"/>
          <a:stretch/>
        </p:blipFill>
        <p:spPr>
          <a:xfrm>
            <a:off x="6688186" y="3163585"/>
            <a:ext cx="560495" cy="385874"/>
          </a:xfrm>
          <a:prstGeom prst="rect">
            <a:avLst/>
          </a:prstGeom>
        </p:spPr>
      </p:pic>
      <p:pic>
        <p:nvPicPr>
          <p:cNvPr id="259" name="Picture 258">
            <a:extLst>
              <a:ext uri="{FF2B5EF4-FFF2-40B4-BE49-F238E27FC236}">
                <a16:creationId xmlns:a16="http://schemas.microsoft.com/office/drawing/2014/main" id="{02EBFBDC-0AE9-4D77-8B75-A1B4204D4B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434" r="7293" b="35846"/>
          <a:stretch/>
        </p:blipFill>
        <p:spPr>
          <a:xfrm>
            <a:off x="8504116" y="3163585"/>
            <a:ext cx="560495" cy="385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88443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FFAAF-86EA-49A3-94A8-DDA3E4416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ditional vs. ML infused system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EB0389-48AF-421E-BA4F-918D331E1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100" y="1792131"/>
            <a:ext cx="10490200" cy="354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1830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MLOps = ML + DEV + OPS</a:t>
            </a:r>
          </a:p>
        </p:txBody>
      </p:sp>
      <p:sp>
        <p:nvSpPr>
          <p:cNvPr id="140" name="TextBox 8">
            <a:extLst>
              <a:ext uri="{FF2B5EF4-FFF2-40B4-BE49-F238E27FC236}">
                <a16:creationId xmlns:a16="http://schemas.microsoft.com/office/drawing/2014/main" id="{C9C72490-9715-440A-963C-BD1E0CD77FCA}"/>
              </a:ext>
            </a:extLst>
          </p:cNvPr>
          <p:cNvSpPr txBox="1"/>
          <p:nvPr/>
        </p:nvSpPr>
        <p:spPr>
          <a:xfrm>
            <a:off x="778073" y="4856206"/>
            <a:ext cx="3130428" cy="1253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Experiment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Acquisition 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Business Understand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Initial Modeling</a:t>
            </a:r>
          </a:p>
        </p:txBody>
      </p:sp>
      <p:sp>
        <p:nvSpPr>
          <p:cNvPr id="141" name="TextBox 8">
            <a:extLst>
              <a:ext uri="{FF2B5EF4-FFF2-40B4-BE49-F238E27FC236}">
                <a16:creationId xmlns:a16="http://schemas.microsoft.com/office/drawing/2014/main" id="{EC787D24-B4BA-426A-AED2-3452B1B39754}"/>
              </a:ext>
            </a:extLst>
          </p:cNvPr>
          <p:cNvSpPr txBox="1"/>
          <p:nvPr/>
        </p:nvSpPr>
        <p:spPr>
          <a:xfrm>
            <a:off x="4897463" y="4856206"/>
            <a:ext cx="3130428" cy="699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evel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Modeling</a:t>
            </a:r>
            <a:endParaRPr kumimoji="0" lang="en-US" sz="1800" b="1" i="0" u="none" strike="noStrike" kern="800" cap="none" spc="98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2" name="TextBox 44">
            <a:extLst>
              <a:ext uri="{FF2B5EF4-FFF2-40B4-BE49-F238E27FC236}">
                <a16:creationId xmlns:a16="http://schemas.microsoft.com/office/drawing/2014/main" id="{89B7706A-696C-4DD4-BC16-63897AC86E47}"/>
              </a:ext>
            </a:extLst>
          </p:cNvPr>
          <p:cNvSpPr txBox="1"/>
          <p:nvPr/>
        </p:nvSpPr>
        <p:spPr>
          <a:xfrm>
            <a:off x="8361105" y="4858527"/>
            <a:ext cx="3129224" cy="1675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45" b="1" i="0" u="none" strike="noStrike" kern="800" cap="none" spc="98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Operate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livery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Data Feedback Loop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System + Model Monitor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45" b="0" i="0" u="none" strike="noStrike" kern="800" cap="none" spc="98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 Ligh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143" name="Freeform 28">
            <a:extLst>
              <a:ext uri="{FF2B5EF4-FFF2-40B4-BE49-F238E27FC236}">
                <a16:creationId xmlns:a16="http://schemas.microsoft.com/office/drawing/2014/main" id="{23EE7238-0B6D-475B-B96D-046C04D12A4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81258">
            <a:off x="2804848" y="2147510"/>
            <a:ext cx="1824326" cy="1855063"/>
          </a:xfrm>
          <a:custGeom>
            <a:avLst/>
            <a:gdLst>
              <a:gd name="T0" fmla="*/ 853546768 w 425"/>
              <a:gd name="T1" fmla="*/ 2147483647 h 425"/>
              <a:gd name="T2" fmla="*/ 362757401 w 425"/>
              <a:gd name="T3" fmla="*/ 718866784 h 425"/>
              <a:gd name="T4" fmla="*/ 2147483647 w 425"/>
              <a:gd name="T5" fmla="*/ 308085710 h 425"/>
              <a:gd name="T6" fmla="*/ 2147483647 w 425"/>
              <a:gd name="T7" fmla="*/ 1842473085 h 425"/>
              <a:gd name="T8" fmla="*/ 853546768 w 425"/>
              <a:gd name="T9" fmla="*/ 2147483647 h 4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5"/>
              <a:gd name="T16" fmla="*/ 0 h 425"/>
              <a:gd name="T17" fmla="*/ 425 w 425"/>
              <a:gd name="T18" fmla="*/ 425 h 4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5" h="425">
                <a:moveTo>
                  <a:pt x="120" y="373"/>
                </a:moveTo>
                <a:cubicBezTo>
                  <a:pt x="31" y="322"/>
                  <a:pt x="0" y="208"/>
                  <a:pt x="51" y="119"/>
                </a:cubicBezTo>
                <a:cubicBezTo>
                  <a:pt x="103" y="30"/>
                  <a:pt x="217" y="0"/>
                  <a:pt x="306" y="51"/>
                </a:cubicBezTo>
                <a:cubicBezTo>
                  <a:pt x="394" y="103"/>
                  <a:pt x="425" y="216"/>
                  <a:pt x="374" y="305"/>
                </a:cubicBezTo>
                <a:cubicBezTo>
                  <a:pt x="322" y="394"/>
                  <a:pt x="208" y="425"/>
                  <a:pt x="120" y="373"/>
                </a:cubicBezTo>
                <a:close/>
              </a:path>
            </a:pathLst>
          </a:custGeom>
          <a:noFill/>
          <a:ln w="3175">
            <a:noFill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5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5" name="Freeform 39">
            <a:extLst>
              <a:ext uri="{FF2B5EF4-FFF2-40B4-BE49-F238E27FC236}">
                <a16:creationId xmlns:a16="http://schemas.microsoft.com/office/drawing/2014/main" id="{D68604F8-4686-4EF9-B60D-63E8F06A2124}"/>
              </a:ext>
            </a:extLst>
          </p:cNvPr>
          <p:cNvSpPr>
            <a:spLocks noEditPoints="1"/>
          </p:cNvSpPr>
          <p:nvPr/>
        </p:nvSpPr>
        <p:spPr bwMode="auto">
          <a:xfrm rot="326988" flipH="1">
            <a:off x="6654368" y="2295014"/>
            <a:ext cx="161461" cy="275479"/>
          </a:xfrm>
          <a:custGeom>
            <a:avLst/>
            <a:gdLst>
              <a:gd name="T0" fmla="*/ 112 w 112"/>
              <a:gd name="T1" fmla="*/ 56 h 190"/>
              <a:gd name="T2" fmla="*/ 56 w 112"/>
              <a:gd name="T3" fmla="*/ 0 h 190"/>
              <a:gd name="T4" fmla="*/ 0 w 112"/>
              <a:gd name="T5" fmla="*/ 56 h 190"/>
              <a:gd name="T6" fmla="*/ 49 w 112"/>
              <a:gd name="T7" fmla="*/ 112 h 190"/>
              <a:gd name="T8" fmla="*/ 49 w 112"/>
              <a:gd name="T9" fmla="*/ 125 h 190"/>
              <a:gd name="T10" fmla="*/ 43 w 112"/>
              <a:gd name="T11" fmla="*/ 125 h 190"/>
              <a:gd name="T12" fmla="*/ 43 w 112"/>
              <a:gd name="T13" fmla="*/ 190 h 190"/>
              <a:gd name="T14" fmla="*/ 69 w 112"/>
              <a:gd name="T15" fmla="*/ 190 h 190"/>
              <a:gd name="T16" fmla="*/ 69 w 112"/>
              <a:gd name="T17" fmla="*/ 125 h 190"/>
              <a:gd name="T18" fmla="*/ 63 w 112"/>
              <a:gd name="T19" fmla="*/ 125 h 190"/>
              <a:gd name="T20" fmla="*/ 63 w 112"/>
              <a:gd name="T21" fmla="*/ 112 h 190"/>
              <a:gd name="T22" fmla="*/ 112 w 112"/>
              <a:gd name="T23" fmla="*/ 56 h 190"/>
              <a:gd name="T24" fmla="*/ 21 w 112"/>
              <a:gd name="T25" fmla="*/ 56 h 190"/>
              <a:gd name="T26" fmla="*/ 56 w 112"/>
              <a:gd name="T27" fmla="*/ 21 h 190"/>
              <a:gd name="T28" fmla="*/ 92 w 112"/>
              <a:gd name="T29" fmla="*/ 56 h 190"/>
              <a:gd name="T30" fmla="*/ 56 w 112"/>
              <a:gd name="T31" fmla="*/ 92 h 190"/>
              <a:gd name="T32" fmla="*/ 21 w 112"/>
              <a:gd name="T33" fmla="*/ 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2" h="190">
                <a:moveTo>
                  <a:pt x="112" y="56"/>
                </a:moveTo>
                <a:cubicBezTo>
                  <a:pt x="112" y="25"/>
                  <a:pt x="87" y="0"/>
                  <a:pt x="56" y="0"/>
                </a:cubicBezTo>
                <a:cubicBezTo>
                  <a:pt x="25" y="0"/>
                  <a:pt x="0" y="25"/>
                  <a:pt x="0" y="56"/>
                </a:cubicBezTo>
                <a:cubicBezTo>
                  <a:pt x="0" y="85"/>
                  <a:pt x="22" y="109"/>
                  <a:pt x="49" y="112"/>
                </a:cubicBezTo>
                <a:cubicBezTo>
                  <a:pt x="49" y="125"/>
                  <a:pt x="49" y="125"/>
                  <a:pt x="49" y="125"/>
                </a:cubicBezTo>
                <a:cubicBezTo>
                  <a:pt x="43" y="125"/>
                  <a:pt x="43" y="125"/>
                  <a:pt x="43" y="125"/>
                </a:cubicBezTo>
                <a:cubicBezTo>
                  <a:pt x="43" y="190"/>
                  <a:pt x="43" y="190"/>
                  <a:pt x="43" y="190"/>
                </a:cubicBezTo>
                <a:cubicBezTo>
                  <a:pt x="69" y="190"/>
                  <a:pt x="69" y="190"/>
                  <a:pt x="69" y="190"/>
                </a:cubicBezTo>
                <a:cubicBezTo>
                  <a:pt x="69" y="125"/>
                  <a:pt x="69" y="125"/>
                  <a:pt x="69" y="125"/>
                </a:cubicBezTo>
                <a:cubicBezTo>
                  <a:pt x="63" y="125"/>
                  <a:pt x="63" y="125"/>
                  <a:pt x="63" y="125"/>
                </a:cubicBezTo>
                <a:cubicBezTo>
                  <a:pt x="63" y="112"/>
                  <a:pt x="63" y="112"/>
                  <a:pt x="63" y="112"/>
                </a:cubicBezTo>
                <a:cubicBezTo>
                  <a:pt x="91" y="109"/>
                  <a:pt x="112" y="85"/>
                  <a:pt x="112" y="56"/>
                </a:cubicBezTo>
                <a:close/>
                <a:moveTo>
                  <a:pt x="21" y="56"/>
                </a:moveTo>
                <a:cubicBezTo>
                  <a:pt x="21" y="37"/>
                  <a:pt x="37" y="21"/>
                  <a:pt x="56" y="21"/>
                </a:cubicBezTo>
                <a:cubicBezTo>
                  <a:pt x="76" y="21"/>
                  <a:pt x="92" y="37"/>
                  <a:pt x="92" y="56"/>
                </a:cubicBezTo>
                <a:cubicBezTo>
                  <a:pt x="92" y="76"/>
                  <a:pt x="76" y="92"/>
                  <a:pt x="56" y="92"/>
                </a:cubicBezTo>
                <a:cubicBezTo>
                  <a:pt x="37" y="92"/>
                  <a:pt x="21" y="76"/>
                  <a:pt x="21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2531" tIns="46266" rIns="92531" bIns="462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17F476DC-4D12-4A19-AAEB-7D94278C9C18}"/>
              </a:ext>
            </a:extLst>
          </p:cNvPr>
          <p:cNvSpPr txBox="1"/>
          <p:nvPr/>
        </p:nvSpPr>
        <p:spPr>
          <a:xfrm rot="1890962" flipH="1" flipV="1">
            <a:off x="7399008" y="3086737"/>
            <a:ext cx="1257767" cy="387747"/>
          </a:xfrm>
          <a:prstGeom prst="rect">
            <a:avLst/>
          </a:prstGeom>
          <a:noFill/>
        </p:spPr>
        <p:txBody>
          <a:bodyPr wrap="square" lIns="36429" tIns="36429" rIns="36429" bIns="3642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998" b="1" i="0" u="none" strike="noStrike" kern="1200" cap="none" spc="0" normalizeH="0" baseline="0" noProof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0C3BDC5-FCE6-4DA2-A360-7016ACB1F581}"/>
              </a:ext>
            </a:extLst>
          </p:cNvPr>
          <p:cNvGrpSpPr/>
          <p:nvPr/>
        </p:nvGrpSpPr>
        <p:grpSpPr>
          <a:xfrm>
            <a:off x="2191804" y="1503404"/>
            <a:ext cx="3050410" cy="3078844"/>
            <a:chOff x="2197971" y="1559524"/>
            <a:chExt cx="3057324" cy="3029296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61BE89B7-678C-4E9F-916B-C32F15AE78AA}"/>
                </a:ext>
              </a:extLst>
            </p:cNvPr>
            <p:cNvSpPr txBox="1"/>
            <p:nvPr/>
          </p:nvSpPr>
          <p:spPr>
            <a:xfrm rot="1890962">
              <a:off x="3251185" y="2675110"/>
              <a:ext cx="1257767" cy="387747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998" b="1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5" name="Freeform 30">
              <a:extLst>
                <a:ext uri="{FF2B5EF4-FFF2-40B4-BE49-F238E27FC236}">
                  <a16:creationId xmlns:a16="http://schemas.microsoft.com/office/drawing/2014/main" id="{955D5F7B-867B-4C58-9CF7-87BBBB624BD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2781258">
              <a:off x="3087303" y="1568502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8FB4DB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srgbClr val="8FB4DB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1E296C15-F537-4FDF-BC2F-1AB7FB74077F}"/>
                </a:ext>
              </a:extLst>
            </p:cNvPr>
            <p:cNvSpPr>
              <a:spLocks noEditPoints="1"/>
            </p:cNvSpPr>
            <p:nvPr/>
          </p:nvSpPr>
          <p:spPr bwMode="auto">
            <a:xfrm rot="21273012">
              <a:off x="2927931" y="2321893"/>
              <a:ext cx="161463" cy="275480"/>
            </a:xfrm>
            <a:custGeom>
              <a:avLst/>
              <a:gdLst>
                <a:gd name="T0" fmla="*/ 112 w 112"/>
                <a:gd name="T1" fmla="*/ 56 h 190"/>
                <a:gd name="T2" fmla="*/ 56 w 112"/>
                <a:gd name="T3" fmla="*/ 0 h 190"/>
                <a:gd name="T4" fmla="*/ 0 w 112"/>
                <a:gd name="T5" fmla="*/ 56 h 190"/>
                <a:gd name="T6" fmla="*/ 49 w 112"/>
                <a:gd name="T7" fmla="*/ 112 h 190"/>
                <a:gd name="T8" fmla="*/ 49 w 112"/>
                <a:gd name="T9" fmla="*/ 125 h 190"/>
                <a:gd name="T10" fmla="*/ 43 w 112"/>
                <a:gd name="T11" fmla="*/ 125 h 190"/>
                <a:gd name="T12" fmla="*/ 43 w 112"/>
                <a:gd name="T13" fmla="*/ 190 h 190"/>
                <a:gd name="T14" fmla="*/ 69 w 112"/>
                <a:gd name="T15" fmla="*/ 190 h 190"/>
                <a:gd name="T16" fmla="*/ 69 w 112"/>
                <a:gd name="T17" fmla="*/ 125 h 190"/>
                <a:gd name="T18" fmla="*/ 63 w 112"/>
                <a:gd name="T19" fmla="*/ 125 h 190"/>
                <a:gd name="T20" fmla="*/ 63 w 112"/>
                <a:gd name="T21" fmla="*/ 112 h 190"/>
                <a:gd name="T22" fmla="*/ 112 w 112"/>
                <a:gd name="T23" fmla="*/ 56 h 190"/>
                <a:gd name="T24" fmla="*/ 21 w 112"/>
                <a:gd name="T25" fmla="*/ 56 h 190"/>
                <a:gd name="T26" fmla="*/ 56 w 112"/>
                <a:gd name="T27" fmla="*/ 21 h 190"/>
                <a:gd name="T28" fmla="*/ 92 w 112"/>
                <a:gd name="T29" fmla="*/ 56 h 190"/>
                <a:gd name="T30" fmla="*/ 56 w 112"/>
                <a:gd name="T31" fmla="*/ 92 h 190"/>
                <a:gd name="T32" fmla="*/ 21 w 112"/>
                <a:gd name="T33" fmla="*/ 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90">
                  <a:moveTo>
                    <a:pt x="112" y="56"/>
                  </a:moveTo>
                  <a:cubicBezTo>
                    <a:pt x="112" y="25"/>
                    <a:pt x="87" y="0"/>
                    <a:pt x="56" y="0"/>
                  </a:cubicBezTo>
                  <a:cubicBezTo>
                    <a:pt x="25" y="0"/>
                    <a:pt x="0" y="25"/>
                    <a:pt x="0" y="56"/>
                  </a:cubicBezTo>
                  <a:cubicBezTo>
                    <a:pt x="0" y="85"/>
                    <a:pt x="22" y="109"/>
                    <a:pt x="49" y="112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90"/>
                    <a:pt x="43" y="190"/>
                    <a:pt x="43" y="190"/>
                  </a:cubicBezTo>
                  <a:cubicBezTo>
                    <a:pt x="69" y="190"/>
                    <a:pt x="69" y="190"/>
                    <a:pt x="69" y="19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91" y="109"/>
                    <a:pt x="112" y="85"/>
                    <a:pt x="112" y="56"/>
                  </a:cubicBezTo>
                  <a:close/>
                  <a:moveTo>
                    <a:pt x="21" y="56"/>
                  </a:moveTo>
                  <a:cubicBezTo>
                    <a:pt x="21" y="37"/>
                    <a:pt x="37" y="21"/>
                    <a:pt x="56" y="21"/>
                  </a:cubicBezTo>
                  <a:cubicBezTo>
                    <a:pt x="76" y="21"/>
                    <a:pt x="92" y="37"/>
                    <a:pt x="92" y="56"/>
                  </a:cubicBezTo>
                  <a:cubicBezTo>
                    <a:pt x="92" y="76"/>
                    <a:pt x="76" y="92"/>
                    <a:pt x="56" y="92"/>
                  </a:cubicBezTo>
                  <a:cubicBezTo>
                    <a:pt x="37" y="92"/>
                    <a:pt x="21" y="76"/>
                    <a:pt x="21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2531" tIns="46266" rIns="92531" bIns="462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29">
              <a:extLst>
                <a:ext uri="{FF2B5EF4-FFF2-40B4-BE49-F238E27FC236}">
                  <a16:creationId xmlns:a16="http://schemas.microsoft.com/office/drawing/2014/main" id="{5F4DB87A-F18A-47B9-9E4D-6BA83F72992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13569486">
              <a:off x="3936339" y="2430327"/>
              <a:ext cx="1290313" cy="1347598"/>
            </a:xfrm>
            <a:custGeom>
              <a:avLst/>
              <a:gdLst>
                <a:gd name="T0" fmla="*/ 2121034554 w 301"/>
                <a:gd name="T1" fmla="*/ 1296596275 h 309"/>
                <a:gd name="T2" fmla="*/ 1362002072 w 301"/>
                <a:gd name="T3" fmla="*/ 1133767904 h 309"/>
                <a:gd name="T4" fmla="*/ 673907041 w 301"/>
                <a:gd name="T5" fmla="*/ 247259053 h 309"/>
                <a:gd name="T6" fmla="*/ 333405857 w 301"/>
                <a:gd name="T7" fmla="*/ 0 h 309"/>
                <a:gd name="T8" fmla="*/ 0 w 301"/>
                <a:gd name="T9" fmla="*/ 253287903 h 309"/>
                <a:gd name="T10" fmla="*/ 2064285259 w 301"/>
                <a:gd name="T11" fmla="*/ 1863480074 h 309"/>
                <a:gd name="T12" fmla="*/ 2135222544 w 301"/>
                <a:gd name="T13" fmla="*/ 1863480074 h 309"/>
                <a:gd name="T14" fmla="*/ 1830190086 w 301"/>
                <a:gd name="T15" fmla="*/ 1574006869 h 309"/>
                <a:gd name="T16" fmla="*/ 2121034554 w 301"/>
                <a:gd name="T17" fmla="*/ 1296596275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1"/>
                <a:gd name="T28" fmla="*/ 0 h 309"/>
                <a:gd name="T29" fmla="*/ 301 w 301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Freeform 30">
              <a:extLst>
                <a:ext uri="{FF2B5EF4-FFF2-40B4-BE49-F238E27FC236}">
                  <a16:creationId xmlns:a16="http://schemas.microsoft.com/office/drawing/2014/main" id="{9A95882B-666C-45AE-B0B3-5994B6C497F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18981258">
              <a:off x="2197971" y="2406783"/>
              <a:ext cx="1337167" cy="1297283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3F7FC2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8" name="Freeform 30">
              <a:extLst>
                <a:ext uri="{FF2B5EF4-FFF2-40B4-BE49-F238E27FC236}">
                  <a16:creationId xmlns:a16="http://schemas.microsoft.com/office/drawing/2014/main" id="{8BEA7C38-4C48-44CB-8F5A-BD8B83CAC00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3581258">
              <a:off x="3023251" y="3271716"/>
              <a:ext cx="1326082" cy="1308125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76A4D3"/>
            </a:solidFill>
            <a:ln w="3175" cap="flat" cmpd="sng">
              <a:solidFill>
                <a:srgbClr val="72A1D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5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89BFC5C4-31B9-4568-97F2-CAD526631C5D}"/>
                </a:ext>
              </a:extLst>
            </p:cNvPr>
            <p:cNvSpPr txBox="1"/>
            <p:nvPr/>
          </p:nvSpPr>
          <p:spPr>
            <a:xfrm>
              <a:off x="3038768" y="2961945"/>
              <a:ext cx="1372622" cy="284362"/>
            </a:xfrm>
            <a:prstGeom prst="rect">
              <a:avLst/>
            </a:prstGeom>
            <a:noFill/>
          </p:spPr>
          <p:txBody>
            <a:bodyPr wrap="square" lIns="36429" tIns="36429" rIns="36429" bIns="36429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78D4">
                      <a:lumMod val="75000"/>
                    </a:srgbClr>
                  </a:solidFill>
                  <a:effectLst/>
                  <a:uLnTx/>
                  <a:uFillTx/>
                  <a:latin typeface="Segoe UI Bold" panose="020B0802040204020203" pitchFamily="34" charset="0"/>
                  <a:cs typeface="Segoe UI Bold" panose="020B0802040204020203" pitchFamily="34" charset="0"/>
                </a:rPr>
                <a:t>ML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D8FD33D-25DF-4335-9E8E-3C90AD6635A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76140" y="1726670"/>
            <a:ext cx="4585160" cy="2632314"/>
          </a:xfrm>
          <a:prstGeom prst="rect">
            <a:avLst/>
          </a:prstGeom>
        </p:spPr>
      </p:pic>
      <p:sp>
        <p:nvSpPr>
          <p:cNvPr id="20" name="TextBox 8">
            <a:extLst>
              <a:ext uri="{FF2B5EF4-FFF2-40B4-BE49-F238E27FC236}">
                <a16:creationId xmlns:a16="http://schemas.microsoft.com/office/drawing/2014/main" id="{3ADA5403-A569-4263-9073-B93C7AF731CF}"/>
              </a:ext>
            </a:extLst>
          </p:cNvPr>
          <p:cNvSpPr txBox="1"/>
          <p:nvPr/>
        </p:nvSpPr>
        <p:spPr>
          <a:xfrm>
            <a:off x="4897463" y="5278629"/>
            <a:ext cx="31304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183" marR="0" lvl="1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	   + Testing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Integration</a:t>
            </a:r>
          </a:p>
          <a:p>
            <a:pPr marL="0" marR="0" lvl="0" indent="0" algn="l" defTabSz="896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800" cap="none" spc="98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 Light"/>
                <a:ea typeface="+mn-ea"/>
                <a:cs typeface="Segoe UI Semibold" panose="020B0702040204020203" pitchFamily="34" charset="0"/>
              </a:rPr>
              <a:t>Continuous Deploy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CA6BD2-5373-416A-9534-5DB44C328896}"/>
              </a:ext>
            </a:extLst>
          </p:cNvPr>
          <p:cNvSpPr txBox="1"/>
          <p:nvPr/>
        </p:nvSpPr>
        <p:spPr>
          <a:xfrm>
            <a:off x="997088" y="1301452"/>
            <a:ext cx="400714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Help bring models to production</a:t>
            </a:r>
          </a:p>
        </p:txBody>
      </p:sp>
    </p:spTree>
    <p:extLst>
      <p:ext uri="{BB962C8B-B14F-4D97-AF65-F5344CB8AC3E}">
        <p14:creationId xmlns:p14="http://schemas.microsoft.com/office/powerpoint/2010/main" val="329539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AA22A769-A91C-4FF4-9398-2D968A8F6026}"/>
              </a:ext>
            </a:extLst>
          </p:cNvPr>
          <p:cNvCxnSpPr>
            <a:cxnSpLocks/>
            <a:stCxn id="33" idx="1"/>
            <a:endCxn id="56" idx="1"/>
          </p:cNvCxnSpPr>
          <p:nvPr/>
        </p:nvCxnSpPr>
        <p:spPr>
          <a:xfrm rot="5400000" flipH="1" flipV="1">
            <a:off x="4886803" y="2265500"/>
            <a:ext cx="1465576" cy="87414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ylinder 32">
            <a:extLst>
              <a:ext uri="{FF2B5EF4-FFF2-40B4-BE49-F238E27FC236}">
                <a16:creationId xmlns:a16="http://schemas.microsoft.com/office/drawing/2014/main" id="{39D18B11-75B1-4613-99E1-3324A4A7BD5B}"/>
              </a:ext>
            </a:extLst>
          </p:cNvPr>
          <p:cNvSpPr/>
          <p:nvPr/>
        </p:nvSpPr>
        <p:spPr>
          <a:xfrm>
            <a:off x="4477725" y="3435358"/>
            <a:ext cx="1409591" cy="748862"/>
          </a:xfrm>
          <a:prstGeom prst="can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/>
              <a:t>Code Repo</a:t>
            </a:r>
          </a:p>
        </p:txBody>
      </p:sp>
      <p:sp>
        <p:nvSpPr>
          <p:cNvPr id="56" name="Flowchart: Direct Access Storage 55">
            <a:extLst>
              <a:ext uri="{FF2B5EF4-FFF2-40B4-BE49-F238E27FC236}">
                <a16:creationId xmlns:a16="http://schemas.microsoft.com/office/drawing/2014/main" id="{1632CF77-AB96-48C0-A1D6-F1B3E38BAAD2}"/>
              </a:ext>
            </a:extLst>
          </p:cNvPr>
          <p:cNvSpPr/>
          <p:nvPr/>
        </p:nvSpPr>
        <p:spPr>
          <a:xfrm>
            <a:off x="6056662" y="1722562"/>
            <a:ext cx="3096875" cy="494439"/>
          </a:xfrm>
          <a:prstGeom prst="flowChartMagneticDrum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/>
              <a:t>Train Model</a:t>
            </a: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DC5976D-6950-4E4E-8488-E45FCFB76320}"/>
              </a:ext>
            </a:extLst>
          </p:cNvPr>
          <p:cNvCxnSpPr>
            <a:cxnSpLocks/>
            <a:stCxn id="56" idx="2"/>
            <a:endCxn id="63" idx="1"/>
          </p:cNvCxnSpPr>
          <p:nvPr/>
        </p:nvCxnSpPr>
        <p:spPr>
          <a:xfrm rot="5400000">
            <a:off x="6612419" y="1632758"/>
            <a:ext cx="408438" cy="1576925"/>
          </a:xfrm>
          <a:prstGeom prst="bentConnector4">
            <a:avLst>
              <a:gd name="adj1" fmla="val 24435"/>
              <a:gd name="adj2" fmla="val 11449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2425681F-D798-44B0-A1E4-7DBADDFC50A4}"/>
              </a:ext>
            </a:extLst>
          </p:cNvPr>
          <p:cNvSpPr/>
          <p:nvPr/>
        </p:nvSpPr>
        <p:spPr>
          <a:xfrm>
            <a:off x="7061730" y="2423056"/>
            <a:ext cx="876054" cy="413752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Trai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E1B5E10-11AA-4447-B274-7B04BEE87FBD}"/>
              </a:ext>
            </a:extLst>
          </p:cNvPr>
          <p:cNvSpPr/>
          <p:nvPr/>
        </p:nvSpPr>
        <p:spPr>
          <a:xfrm>
            <a:off x="8156421" y="2421516"/>
            <a:ext cx="876054" cy="413753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Evaluate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8571C9E2-F9C7-4B8A-979A-ED7F672BF429}"/>
              </a:ext>
            </a:extLst>
          </p:cNvPr>
          <p:cNvCxnSpPr>
            <a:cxnSpLocks/>
            <a:stCxn id="68" idx="3"/>
            <a:endCxn id="82" idx="1"/>
          </p:cNvCxnSpPr>
          <p:nvPr/>
        </p:nvCxnSpPr>
        <p:spPr>
          <a:xfrm>
            <a:off x="9032475" y="2628393"/>
            <a:ext cx="1964420" cy="36538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ylinder 81">
            <a:extLst>
              <a:ext uri="{FF2B5EF4-FFF2-40B4-BE49-F238E27FC236}">
                <a16:creationId xmlns:a16="http://schemas.microsoft.com/office/drawing/2014/main" id="{5B2E93FF-B27B-4F31-99CE-BA3357DD1696}"/>
              </a:ext>
            </a:extLst>
          </p:cNvPr>
          <p:cNvSpPr/>
          <p:nvPr/>
        </p:nvSpPr>
        <p:spPr>
          <a:xfrm>
            <a:off x="10441868" y="2993782"/>
            <a:ext cx="1110054" cy="789089"/>
          </a:xfrm>
          <a:prstGeom prst="can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/>
              <a:t>Model Registry</a:t>
            </a:r>
          </a:p>
        </p:txBody>
      </p:sp>
      <p:sp>
        <p:nvSpPr>
          <p:cNvPr id="90" name="Flowchart: Direct Access Storage 89">
            <a:extLst>
              <a:ext uri="{FF2B5EF4-FFF2-40B4-BE49-F238E27FC236}">
                <a16:creationId xmlns:a16="http://schemas.microsoft.com/office/drawing/2014/main" id="{C7533852-6B24-4FE6-BEFF-963582096D6D}"/>
              </a:ext>
            </a:extLst>
          </p:cNvPr>
          <p:cNvSpPr/>
          <p:nvPr/>
        </p:nvSpPr>
        <p:spPr>
          <a:xfrm>
            <a:off x="5753454" y="4499847"/>
            <a:ext cx="2792574" cy="494439"/>
          </a:xfrm>
          <a:prstGeom prst="flowChartMagneticDrum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/>
              <a:t>Release Model</a:t>
            </a:r>
          </a:p>
        </p:txBody>
      </p:sp>
      <p:cxnSp>
        <p:nvCxnSpPr>
          <p:cNvPr id="92" name="Connector: Elbow 91">
            <a:extLst>
              <a:ext uri="{FF2B5EF4-FFF2-40B4-BE49-F238E27FC236}">
                <a16:creationId xmlns:a16="http://schemas.microsoft.com/office/drawing/2014/main" id="{234A347F-F7F3-46B1-BC98-E9289126F457}"/>
              </a:ext>
            </a:extLst>
          </p:cNvPr>
          <p:cNvCxnSpPr>
            <a:cxnSpLocks/>
            <a:stCxn id="82" idx="3"/>
            <a:endCxn id="90" idx="4"/>
          </p:cNvCxnSpPr>
          <p:nvPr/>
        </p:nvCxnSpPr>
        <p:spPr>
          <a:xfrm rot="5400000">
            <a:off x="9289364" y="3039536"/>
            <a:ext cx="964196" cy="245086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86251C70-6E51-494E-8CBA-0A48595208D5}"/>
              </a:ext>
            </a:extLst>
          </p:cNvPr>
          <p:cNvSpPr/>
          <p:nvPr/>
        </p:nvSpPr>
        <p:spPr>
          <a:xfrm>
            <a:off x="5871877" y="5248706"/>
            <a:ext cx="876054" cy="517210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Validat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F91D9FF4-2C74-47A6-BAB4-0BBC69839E18}"/>
              </a:ext>
            </a:extLst>
          </p:cNvPr>
          <p:cNvSpPr/>
          <p:nvPr/>
        </p:nvSpPr>
        <p:spPr>
          <a:xfrm>
            <a:off x="8821242" y="5248706"/>
            <a:ext cx="876054" cy="517210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Deploy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D9AA38A-F354-4B39-ACE3-1584CC9BDDE5}"/>
              </a:ext>
            </a:extLst>
          </p:cNvPr>
          <p:cNvSpPr/>
          <p:nvPr/>
        </p:nvSpPr>
        <p:spPr>
          <a:xfrm>
            <a:off x="4983959" y="523773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Package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96B63DC8-1984-44B8-B9F7-42FE83136E98}"/>
              </a:ext>
            </a:extLst>
          </p:cNvPr>
          <p:cNvCxnSpPr>
            <a:cxnSpLocks/>
            <a:stCxn id="96" idx="3"/>
            <a:endCxn id="94" idx="1"/>
          </p:cNvCxnSpPr>
          <p:nvPr/>
        </p:nvCxnSpPr>
        <p:spPr>
          <a:xfrm flipV="1">
            <a:off x="5604494" y="5507311"/>
            <a:ext cx="267383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738DEE4-DC47-4B78-A1EE-39B40BB88873}"/>
              </a:ext>
            </a:extLst>
          </p:cNvPr>
          <p:cNvSpPr/>
          <p:nvPr/>
        </p:nvSpPr>
        <p:spPr>
          <a:xfrm>
            <a:off x="7028605" y="523773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Profile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C0B3CCE2-8E1A-4683-A696-2AA7FFEDEACA}"/>
              </a:ext>
            </a:extLst>
          </p:cNvPr>
          <p:cNvSpPr/>
          <p:nvPr/>
        </p:nvSpPr>
        <p:spPr>
          <a:xfrm>
            <a:off x="7958781" y="5237730"/>
            <a:ext cx="620535" cy="53998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/>
              <a:t>Approve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CAFAB5FD-936F-48F7-A603-0A818A43CB87}"/>
              </a:ext>
            </a:extLst>
          </p:cNvPr>
          <p:cNvCxnSpPr>
            <a:cxnSpLocks/>
            <a:stCxn id="94" idx="3"/>
            <a:endCxn id="103" idx="1"/>
          </p:cNvCxnSpPr>
          <p:nvPr/>
        </p:nvCxnSpPr>
        <p:spPr>
          <a:xfrm>
            <a:off x="6747931" y="5507311"/>
            <a:ext cx="280674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72FD8505-04BF-4003-A7AB-94B461FFEB41}"/>
              </a:ext>
            </a:extLst>
          </p:cNvPr>
          <p:cNvCxnSpPr>
            <a:cxnSpLocks/>
            <a:stCxn id="103" idx="3"/>
            <a:endCxn id="104" idx="1"/>
          </p:cNvCxnSpPr>
          <p:nvPr/>
        </p:nvCxnSpPr>
        <p:spPr>
          <a:xfrm>
            <a:off x="7649140" y="5507721"/>
            <a:ext cx="30964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348512B7-FBCF-42E8-9C9F-56C054413A65}"/>
              </a:ext>
            </a:extLst>
          </p:cNvPr>
          <p:cNvCxnSpPr>
            <a:cxnSpLocks/>
            <a:stCxn id="104" idx="3"/>
            <a:endCxn id="95" idx="1"/>
          </p:cNvCxnSpPr>
          <p:nvPr/>
        </p:nvCxnSpPr>
        <p:spPr>
          <a:xfrm flipV="1">
            <a:off x="8579316" y="5507311"/>
            <a:ext cx="241926" cy="4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ylinder 66">
            <a:extLst>
              <a:ext uri="{FF2B5EF4-FFF2-40B4-BE49-F238E27FC236}">
                <a16:creationId xmlns:a16="http://schemas.microsoft.com/office/drawing/2014/main" id="{13B654F1-CCAA-4D5E-A323-5C0573099D77}"/>
              </a:ext>
            </a:extLst>
          </p:cNvPr>
          <p:cNvSpPr/>
          <p:nvPr/>
        </p:nvSpPr>
        <p:spPr>
          <a:xfrm>
            <a:off x="830385" y="4355554"/>
            <a:ext cx="1479235" cy="1133922"/>
          </a:xfrm>
          <a:prstGeom prst="can">
            <a:avLst/>
          </a:prstGeom>
          <a:solidFill>
            <a:schemeClr val="bg2">
              <a:lumMod val="2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Data Lake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94D4FA7-F935-4269-8B99-7EC27712504C}"/>
              </a:ext>
            </a:extLst>
          </p:cNvPr>
          <p:cNvCxnSpPr>
            <a:cxnSpLocks/>
            <a:stCxn id="67" idx="1"/>
            <a:endCxn id="188" idx="2"/>
          </p:cNvCxnSpPr>
          <p:nvPr/>
        </p:nvCxnSpPr>
        <p:spPr>
          <a:xfrm rot="5400000" flipH="1" flipV="1">
            <a:off x="916336" y="3697847"/>
            <a:ext cx="1311375" cy="404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ylinder 73">
            <a:extLst>
              <a:ext uri="{FF2B5EF4-FFF2-40B4-BE49-F238E27FC236}">
                <a16:creationId xmlns:a16="http://schemas.microsoft.com/office/drawing/2014/main" id="{6ED620AF-F3FC-44BF-B129-41C16E5E6D3F}"/>
              </a:ext>
            </a:extLst>
          </p:cNvPr>
          <p:cNvSpPr/>
          <p:nvPr/>
        </p:nvSpPr>
        <p:spPr>
          <a:xfrm>
            <a:off x="3175372" y="2210319"/>
            <a:ext cx="1145429" cy="748862"/>
          </a:xfrm>
          <a:prstGeom prst="can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bg1"/>
                </a:solidFill>
              </a:rPr>
              <a:t>Data Catalog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7518F1E-5603-4767-9AA8-85AD27E35E2C}"/>
              </a:ext>
            </a:extLst>
          </p:cNvPr>
          <p:cNvCxnSpPr>
            <a:cxnSpLocks/>
            <a:stCxn id="74" idx="4"/>
            <a:endCxn id="56" idx="1"/>
          </p:cNvCxnSpPr>
          <p:nvPr/>
        </p:nvCxnSpPr>
        <p:spPr>
          <a:xfrm flipV="1">
            <a:off x="4320801" y="1969782"/>
            <a:ext cx="1735861" cy="61496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F1F16E67-3BFD-467E-B1C5-83B09087B691}"/>
              </a:ext>
            </a:extLst>
          </p:cNvPr>
          <p:cNvCxnSpPr>
            <a:cxnSpLocks/>
            <a:stCxn id="33" idx="3"/>
            <a:endCxn id="90" idx="1"/>
          </p:cNvCxnSpPr>
          <p:nvPr/>
        </p:nvCxnSpPr>
        <p:spPr>
          <a:xfrm rot="16200000" flipH="1">
            <a:off x="5186564" y="4180176"/>
            <a:ext cx="562847" cy="570933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88E63D63-FEED-47BD-9A75-9B9A70A1B6BD}"/>
              </a:ext>
            </a:extLst>
          </p:cNvPr>
          <p:cNvSpPr txBox="1"/>
          <p:nvPr/>
        </p:nvSpPr>
        <p:spPr>
          <a:xfrm>
            <a:off x="184587" y="1336098"/>
            <a:ext cx="1298753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ata Engineer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7292014B-B5C6-456F-89C7-A5E2CC5485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678" y="505849"/>
            <a:ext cx="780288" cy="7802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2BE7A572-5AD7-483E-8CAB-AD2DE213E048}"/>
              </a:ext>
            </a:extLst>
          </p:cNvPr>
          <p:cNvSpPr/>
          <p:nvPr/>
        </p:nvSpPr>
        <p:spPr>
          <a:xfrm>
            <a:off x="6028175" y="2416605"/>
            <a:ext cx="876054" cy="41766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88"/>
              <a:t>Prepar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33B3C0A-BAED-448F-A664-59254E103BB2}"/>
              </a:ext>
            </a:extLst>
          </p:cNvPr>
          <p:cNvSpPr txBox="1"/>
          <p:nvPr/>
        </p:nvSpPr>
        <p:spPr>
          <a:xfrm>
            <a:off x="9278870" y="1993293"/>
            <a:ext cx="1265090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ata Scientist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8877F84C-E5A6-49B6-990E-0865EA61FB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0075" y="1137072"/>
            <a:ext cx="780288" cy="7802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08AA7CD9-C53D-4B6B-9D52-AB53283F47EA}"/>
              </a:ext>
            </a:extLst>
          </p:cNvPr>
          <p:cNvSpPr txBox="1"/>
          <p:nvPr/>
        </p:nvSpPr>
        <p:spPr>
          <a:xfrm>
            <a:off x="3667888" y="4845017"/>
            <a:ext cx="809837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/>
              <a:t>DevOp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4F16EEDD-0511-4EE1-B493-43F4DE39AF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578" y="4142380"/>
            <a:ext cx="714934" cy="7149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E8EBE121-A9DB-45C2-BC45-64B68582F989}"/>
              </a:ext>
            </a:extLst>
          </p:cNvPr>
          <p:cNvCxnSpPr>
            <a:cxnSpLocks/>
            <a:stCxn id="63" idx="3"/>
            <a:endCxn id="62" idx="1"/>
          </p:cNvCxnSpPr>
          <p:nvPr/>
        </p:nvCxnSpPr>
        <p:spPr>
          <a:xfrm>
            <a:off x="6904229" y="2625439"/>
            <a:ext cx="157501" cy="449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3A3A8F0-F5CC-4C8B-A441-8C87636D96B1}"/>
              </a:ext>
            </a:extLst>
          </p:cNvPr>
          <p:cNvCxnSpPr>
            <a:cxnSpLocks/>
            <a:stCxn id="62" idx="3"/>
            <a:endCxn id="68" idx="1"/>
          </p:cNvCxnSpPr>
          <p:nvPr/>
        </p:nvCxnSpPr>
        <p:spPr>
          <a:xfrm flipV="1">
            <a:off x="7937784" y="2628393"/>
            <a:ext cx="218637" cy="153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48F79F46-BB44-48AA-A922-DB87E9E48D8A}"/>
              </a:ext>
            </a:extLst>
          </p:cNvPr>
          <p:cNvCxnSpPr>
            <a:cxnSpLocks/>
            <a:stCxn id="90" idx="2"/>
            <a:endCxn id="96" idx="1"/>
          </p:cNvCxnSpPr>
          <p:nvPr/>
        </p:nvCxnSpPr>
        <p:spPr>
          <a:xfrm rot="5400000">
            <a:off x="5810133" y="4168112"/>
            <a:ext cx="513435" cy="2165782"/>
          </a:xfrm>
          <a:prstGeom prst="bentConnector4">
            <a:avLst>
              <a:gd name="adj1" fmla="val 23707"/>
              <a:gd name="adj2" fmla="val 110555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Flowchart: Direct Access Storage 187">
            <a:extLst>
              <a:ext uri="{FF2B5EF4-FFF2-40B4-BE49-F238E27FC236}">
                <a16:creationId xmlns:a16="http://schemas.microsoft.com/office/drawing/2014/main" id="{EB263D38-8637-4CF6-BBDB-0C88B9017480}"/>
              </a:ext>
            </a:extLst>
          </p:cNvPr>
          <p:cNvSpPr/>
          <p:nvPr/>
        </p:nvSpPr>
        <p:spPr>
          <a:xfrm>
            <a:off x="184587" y="2478563"/>
            <a:ext cx="2778914" cy="565616"/>
          </a:xfrm>
          <a:prstGeom prst="flowChartMagneticDrum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Prepare Data</a:t>
            </a:r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6E5213A2-CC09-47D4-A12F-2655F9E9C2C6}"/>
              </a:ext>
            </a:extLst>
          </p:cNvPr>
          <p:cNvCxnSpPr>
            <a:cxnSpLocks/>
            <a:stCxn id="188" idx="4"/>
            <a:endCxn id="74" idx="2"/>
          </p:cNvCxnSpPr>
          <p:nvPr/>
        </p:nvCxnSpPr>
        <p:spPr>
          <a:xfrm flipV="1">
            <a:off x="2963501" y="2584750"/>
            <a:ext cx="211871" cy="17662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C7027A32-15DD-40D5-B514-A4042995F8A3}"/>
              </a:ext>
            </a:extLst>
          </p:cNvPr>
          <p:cNvCxnSpPr>
            <a:cxnSpLocks/>
            <a:stCxn id="95" idx="3"/>
            <a:endCxn id="55" idx="1"/>
          </p:cNvCxnSpPr>
          <p:nvPr/>
        </p:nvCxnSpPr>
        <p:spPr>
          <a:xfrm>
            <a:off x="9697296" y="5507311"/>
            <a:ext cx="708653" cy="127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itle 1">
            <a:extLst>
              <a:ext uri="{FF2B5EF4-FFF2-40B4-BE49-F238E27FC236}">
                <a16:creationId xmlns:a16="http://schemas.microsoft.com/office/drawing/2014/main" id="{72BF8278-1864-4F59-A04A-0D25CC4DE502}"/>
              </a:ext>
            </a:extLst>
          </p:cNvPr>
          <p:cNvSpPr txBox="1">
            <a:spLocks/>
          </p:cNvSpPr>
          <p:nvPr/>
        </p:nvSpPr>
        <p:spPr>
          <a:xfrm>
            <a:off x="338303" y="184129"/>
            <a:ext cx="11018520" cy="553998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/>
            <a:r>
              <a:rPr lang="en-US"/>
              <a:t>MLOps Process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6D13E82-4778-472E-A419-03FCA06D4D7B}"/>
              </a:ext>
            </a:extLst>
          </p:cNvPr>
          <p:cNvSpPr txBox="1"/>
          <p:nvPr/>
        </p:nvSpPr>
        <p:spPr>
          <a:xfrm>
            <a:off x="2550747" y="791222"/>
            <a:ext cx="65936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terprise ready machine learning development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9AC13FF0-DF56-4D9F-BE85-46CBD458ED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05949" y="5062974"/>
            <a:ext cx="1119499" cy="8886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12817F76-79ED-46CD-B244-ACCBEEA4102B}"/>
              </a:ext>
            </a:extLst>
          </p:cNvPr>
          <p:cNvCxnSpPr>
            <a:cxnSpLocks/>
            <a:stCxn id="55" idx="2"/>
            <a:endCxn id="67" idx="3"/>
          </p:cNvCxnSpPr>
          <p:nvPr/>
        </p:nvCxnSpPr>
        <p:spPr>
          <a:xfrm rot="5400000" flipH="1">
            <a:off x="6036765" y="1022714"/>
            <a:ext cx="462172" cy="9395696"/>
          </a:xfrm>
          <a:prstGeom prst="bentConnector3">
            <a:avLst>
              <a:gd name="adj1" fmla="val -49462"/>
            </a:avLst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0625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6" grpId="0"/>
      <p:bldP spid="8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6FFCE-6E38-49A8-B7D1-14A41EED5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utomate model deployment with Azure DevO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BBF1AD-7D64-4B34-ABFE-4663838997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090" y="1775192"/>
            <a:ext cx="4616981" cy="2930033"/>
          </a:xfrm>
        </p:spPr>
        <p:txBody>
          <a:bodyPr/>
          <a:lstStyle/>
          <a:p>
            <a:r>
              <a:rPr lang="en-US" dirty="0"/>
              <a:t>Trigger release on:</a:t>
            </a:r>
          </a:p>
          <a:p>
            <a:endParaRPr lang="en-US" dirty="0"/>
          </a:p>
          <a:p>
            <a:r>
              <a:rPr lang="en-US" dirty="0"/>
              <a:t>New model(s) available</a:t>
            </a:r>
          </a:p>
          <a:p>
            <a:r>
              <a:rPr lang="en-US" dirty="0"/>
              <a:t>New inference code</a:t>
            </a:r>
          </a:p>
          <a:p>
            <a:r>
              <a:rPr lang="en-US" dirty="0"/>
              <a:t>New base image / dependencies availab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BBA199-4D4A-4350-BA8E-1CFAF8C1BA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625" y="1434370"/>
            <a:ext cx="6003285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50245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29CCF2-E978-A94B-8D58-29849B5B9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RBAC in AML 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2D096AD-5F94-0B47-9F41-A72C6D9B828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49754653"/>
              </p:ext>
            </p:extLst>
          </p:nvPr>
        </p:nvGraphicFramePr>
        <p:xfrm>
          <a:off x="838200" y="2872409"/>
          <a:ext cx="10273748" cy="33045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DE1D0F7-60DD-C646-8FF7-DEF2B2E8E139}"/>
              </a:ext>
            </a:extLst>
          </p:cNvPr>
          <p:cNvSpPr txBox="1"/>
          <p:nvPr/>
        </p:nvSpPr>
        <p:spPr>
          <a:xfrm>
            <a:off x="1103243" y="1690688"/>
            <a:ext cx="101379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le – Defines a collection of permiss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433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DAF1966E-FD40-4A4A-B61B-C4DF7FA05F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047BFA19-D45E-416B-A404-7AF2F3F270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rgbClr val="E1E1E1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8E0105E7-23DB-4CF2-8258-FF47C762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DF3976-2B1A-9447-865F-A5D41E23E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/>
          <a:p>
            <a:r>
              <a:rPr lang="en-US" sz="4000"/>
              <a:t>Advance RBAC in AM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74B4F7D-14B2-478B-8BF5-01E4E0C5D2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75895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73B5F0-8B66-F749-BE29-963F87D641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5568" y="2481943"/>
            <a:ext cx="10168128" cy="36950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200" dirty="0"/>
              <a:t>Control Plane</a:t>
            </a:r>
          </a:p>
          <a:p>
            <a:pPr lvl="1"/>
            <a:r>
              <a:rPr lang="en-US" sz="2200" dirty="0">
                <a:latin typeface="Segoe UI" panose="020B0502040204020203" pitchFamily="34" charset="0"/>
                <a:cs typeface="Segoe UI" panose="020B0502040204020203" pitchFamily="34" charset="0"/>
              </a:rPr>
              <a:t>Workspace operations (like create, upgrade Edition)</a:t>
            </a:r>
          </a:p>
          <a:p>
            <a:pPr lvl="1"/>
            <a:r>
              <a:rPr lang="en-US" sz="2200" dirty="0">
                <a:latin typeface="Segoe UI" panose="020B0502040204020203" pitchFamily="34" charset="0"/>
                <a:cs typeface="Segoe UI" panose="020B0502040204020203" pitchFamily="34" charset="0"/>
              </a:rPr>
              <a:t>Compute operations (like create, update, delete)</a:t>
            </a:r>
          </a:p>
          <a:p>
            <a:pPr lvl="1"/>
            <a:endParaRPr lang="en-US" sz="2200" dirty="0"/>
          </a:p>
          <a:p>
            <a:pPr marL="0" indent="0">
              <a:buNone/>
            </a:pPr>
            <a:r>
              <a:rPr lang="en-US" sz="2200" dirty="0"/>
              <a:t>Data Plane  </a:t>
            </a:r>
          </a:p>
          <a:p>
            <a:pPr lvl="1"/>
            <a:r>
              <a:rPr lang="en-US" sz="2200" dirty="0">
                <a:latin typeface="Segoe UI" panose="020B0502040204020203" pitchFamily="34" charset="0"/>
                <a:cs typeface="Segoe UI" panose="020B0502040204020203" pitchFamily="34" charset="0"/>
              </a:rPr>
              <a:t>Controlling experimentation, deployment, pipelines and data</a:t>
            </a:r>
          </a:p>
          <a:p>
            <a:pPr lvl="1"/>
            <a:endParaRPr lang="en-US" sz="2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sz="2200" dirty="0">
                <a:latin typeface="Segoe UI" panose="020B0502040204020203" pitchFamily="34" charset="0"/>
                <a:cs typeface="Segoe UI" panose="020B0502040204020203" pitchFamily="34" charset="0"/>
              </a:rPr>
              <a:t>Studio also supports RBAC out of the box</a:t>
            </a:r>
          </a:p>
          <a:p>
            <a:pPr lvl="1"/>
            <a:r>
              <a:rPr lang="en-US" sz="2200" dirty="0">
                <a:latin typeface="Segoe UI" panose="020B0502040204020203" pitchFamily="34" charset="0"/>
                <a:cs typeface="Segoe UI" panose="020B0502040204020203" pitchFamily="34" charset="0"/>
              </a:rPr>
              <a:t>UX operations will show/hide button based on your role</a:t>
            </a:r>
          </a:p>
          <a:p>
            <a:endParaRPr lang="en-US" sz="2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1011316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62E91-2324-4C46-8DDC-FD75B7A74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onent Level RBA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AC16E1-2D45-A94C-822E-B85D9D0259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842CF4DF-A8C8-8D4F-ACFD-2BC8FE888C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8287092"/>
              </p:ext>
            </p:extLst>
          </p:nvPr>
        </p:nvGraphicFramePr>
        <p:xfrm>
          <a:off x="838200" y="1697513"/>
          <a:ext cx="10515599" cy="47953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51017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.GJKZ0gEK3IGHKgaod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75</TotalTime>
  <Words>975</Words>
  <Application>Microsoft Macintosh PowerPoint</Application>
  <PresentationFormat>Widescreen</PresentationFormat>
  <Paragraphs>186</Paragraphs>
  <Slides>19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Calibri Light</vt:lpstr>
      <vt:lpstr>Segoe UI</vt:lpstr>
      <vt:lpstr>Segoe UI Bold</vt:lpstr>
      <vt:lpstr>Segoe UI Light</vt:lpstr>
      <vt:lpstr>Segoe UI Semibold</vt:lpstr>
      <vt:lpstr>Segoe UI Semilight</vt:lpstr>
      <vt:lpstr>Office Theme</vt:lpstr>
      <vt:lpstr>Azure Machine Learning  MlOPs &amp; RBAC</vt:lpstr>
      <vt:lpstr>Bring ML models to production</vt:lpstr>
      <vt:lpstr>Traditional vs. ML infused systems</vt:lpstr>
      <vt:lpstr>MLOps = ML + DEV + OPS</vt:lpstr>
      <vt:lpstr>PowerPoint Presentation</vt:lpstr>
      <vt:lpstr>Automate model deployment with Azure DevOps</vt:lpstr>
      <vt:lpstr>Standard RBAC in AML </vt:lpstr>
      <vt:lpstr>Advance RBAC in AML</vt:lpstr>
      <vt:lpstr>Component Level RBAC</vt:lpstr>
      <vt:lpstr>Example of Permissions</vt:lpstr>
      <vt:lpstr>Out of the box roles </vt:lpstr>
      <vt:lpstr>Data Scientist</vt:lpstr>
      <vt:lpstr>Data Scientist Super User</vt:lpstr>
      <vt:lpstr>Office Data Scientist</vt:lpstr>
      <vt:lpstr>IT Admin</vt:lpstr>
      <vt:lpstr>Workspace Admin</vt:lpstr>
      <vt:lpstr>Custom Roles</vt:lpstr>
      <vt:lpstr>Environments </vt:lpstr>
      <vt:lpstr>Any 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ure Machine Learning  MlOPs &amp; RBAC</dc:title>
  <dc:creator>Mufajjul Ali</dc:creator>
  <cp:lastModifiedBy>Mufajjul Ali</cp:lastModifiedBy>
  <cp:revision>4</cp:revision>
  <dcterms:created xsi:type="dcterms:W3CDTF">2020-06-29T23:25:48Z</dcterms:created>
  <dcterms:modified xsi:type="dcterms:W3CDTF">2020-07-16T20:37:18Z</dcterms:modified>
</cp:coreProperties>
</file>